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notesSlides/notesSlide9.xml" ContentType="application/vnd.openxmlformats-officedocument.presentationml.notesSl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notesSlides/notesSlide10.xml" ContentType="application/vnd.openxmlformats-officedocument.presentationml.notesSl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notesSlides/notesSlide11.xml" ContentType="application/vnd.openxmlformats-officedocument.presentationml.notesSlide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notesSlides/notesSlide12.xml" ContentType="application/vnd.openxmlformats-officedocument.presentationml.notesSlide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notesSlides/notesSlide13.xml" ContentType="application/vnd.openxmlformats-officedocument.presentationml.notesSlide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ppt/notesSlides/notesSlide14.xml" ContentType="application/vnd.openxmlformats-officedocument.presentationml.notesSlide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9"/>
  </p:notesMasterIdLst>
  <p:handoutMasterIdLst>
    <p:handoutMasterId r:id="rId50"/>
  </p:handoutMasterIdLst>
  <p:sldIdLst>
    <p:sldId id="327" r:id="rId2"/>
    <p:sldId id="409" r:id="rId3"/>
    <p:sldId id="410" r:id="rId4"/>
    <p:sldId id="407" r:id="rId5"/>
    <p:sldId id="399" r:id="rId6"/>
    <p:sldId id="403" r:id="rId7"/>
    <p:sldId id="337" r:id="rId8"/>
    <p:sldId id="311" r:id="rId9"/>
    <p:sldId id="342" r:id="rId10"/>
    <p:sldId id="338" r:id="rId11"/>
    <p:sldId id="349" r:id="rId12"/>
    <p:sldId id="345" r:id="rId13"/>
    <p:sldId id="397" r:id="rId14"/>
    <p:sldId id="353" r:id="rId15"/>
    <p:sldId id="352" r:id="rId16"/>
    <p:sldId id="383" r:id="rId17"/>
    <p:sldId id="355" r:id="rId18"/>
    <p:sldId id="361" r:id="rId19"/>
    <p:sldId id="385" r:id="rId20"/>
    <p:sldId id="386" r:id="rId21"/>
    <p:sldId id="388" r:id="rId22"/>
    <p:sldId id="376" r:id="rId23"/>
    <p:sldId id="377" r:id="rId24"/>
    <p:sldId id="378" r:id="rId25"/>
    <p:sldId id="412" r:id="rId26"/>
    <p:sldId id="413" r:id="rId27"/>
    <p:sldId id="416" r:id="rId28"/>
    <p:sldId id="417" r:id="rId29"/>
    <p:sldId id="418" r:id="rId30"/>
    <p:sldId id="415" r:id="rId31"/>
    <p:sldId id="419" r:id="rId32"/>
    <p:sldId id="420" r:id="rId33"/>
    <p:sldId id="421" r:id="rId34"/>
    <p:sldId id="422" r:id="rId35"/>
    <p:sldId id="423" r:id="rId36"/>
    <p:sldId id="424" r:id="rId37"/>
    <p:sldId id="425" r:id="rId38"/>
    <p:sldId id="426" r:id="rId39"/>
    <p:sldId id="427" r:id="rId40"/>
    <p:sldId id="428" r:id="rId41"/>
    <p:sldId id="429" r:id="rId42"/>
    <p:sldId id="430" r:id="rId43"/>
    <p:sldId id="434" r:id="rId44"/>
    <p:sldId id="432" r:id="rId45"/>
    <p:sldId id="433" r:id="rId46"/>
    <p:sldId id="414" r:id="rId47"/>
    <p:sldId id="411" r:id="rId48"/>
  </p:sldIdLst>
  <p:sldSz cx="9144000" cy="6858000" type="screen4x3"/>
  <p:notesSz cx="6783388" cy="9926638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36" userDrawn="1">
          <p15:clr>
            <a:srgbClr val="A4A3A4"/>
          </p15:clr>
        </p15:guide>
        <p15:guide id="2" orient="horz" pos="709">
          <p15:clr>
            <a:srgbClr val="A4A3A4"/>
          </p15:clr>
        </p15:guide>
        <p15:guide id="3" orient="horz" pos="981" userDrawn="1">
          <p15:clr>
            <a:srgbClr val="A4A3A4"/>
          </p15:clr>
        </p15:guide>
        <p15:guide id="4" orient="horz" pos="2160">
          <p15:clr>
            <a:srgbClr val="A4A3A4"/>
          </p15:clr>
        </p15:guide>
        <p15:guide id="5" pos="204">
          <p15:clr>
            <a:srgbClr val="A4A3A4"/>
          </p15:clr>
        </p15:guide>
        <p15:guide id="6" pos="555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5E0F"/>
    <a:srgbClr val="FF6600"/>
    <a:srgbClr val="5F5F5F"/>
    <a:srgbClr val="333333"/>
    <a:srgbClr val="33CC33"/>
    <a:srgbClr val="0099FF"/>
    <a:srgbClr val="66CCFF"/>
    <a:srgbClr val="FF3300"/>
    <a:srgbClr val="00316E"/>
    <a:srgbClr val="0031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essuno stile, griglia tabel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vertBarState="maximized">
    <p:restoredLeft sz="15620"/>
    <p:restoredTop sz="95429" autoAdjust="0"/>
  </p:normalViewPr>
  <p:slideViewPr>
    <p:cSldViewPr showGuides="1">
      <p:cViewPr>
        <p:scale>
          <a:sx n="93" d="100"/>
          <a:sy n="93" d="100"/>
        </p:scale>
        <p:origin x="-2154" y="-498"/>
      </p:cViewPr>
      <p:guideLst>
        <p:guide orient="horz" pos="28"/>
        <p:guide pos="555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2" d="100"/>
        <a:sy n="142" d="100"/>
      </p:scale>
      <p:origin x="0" y="12306"/>
    </p:cViewPr>
  </p:sorterViewPr>
  <p:notesViewPr>
    <p:cSldViewPr showGuides="1">
      <p:cViewPr varScale="1">
        <p:scale>
          <a:sx n="79" d="100"/>
          <a:sy n="79" d="100"/>
        </p:scale>
        <p:origin x="-3936" y="-84"/>
      </p:cViewPr>
      <p:guideLst>
        <p:guide orient="horz" pos="3126"/>
        <p:guide pos="21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1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24"/>
    </mc:Choice>
    <mc:Fallback>
      <c:style val="24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8184051801826965"/>
          <c:y val="0"/>
          <c:w val="0.49644142446866757"/>
          <c:h val="0.7205072576224886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spPr>
            <a:solidFill>
              <a:srgbClr val="E95E0F"/>
            </a:solidFill>
          </c:spPr>
          <c:invertIfNegative val="0"/>
          <c:dPt>
            <c:idx val="3"/>
            <c:invertIfNegative val="0"/>
            <c:bubble3D val="0"/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2000" b="1">
                      <a:latin typeface="Century Gothic" pitchFamily="34" charset="0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latin typeface="Century Gothic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Foglio1!$A$2:$A$5</c:f>
              <c:strCache>
                <c:ptCount val="4"/>
                <c:pt idx="0">
                  <c:v>PEGGIORATI</c:v>
                </c:pt>
                <c:pt idx="1">
                  <c:v>rimasti uguali</c:v>
                </c:pt>
                <c:pt idx="2">
                  <c:v>migliorati</c:v>
                </c:pt>
                <c:pt idx="3">
                  <c:v>non risponde</c:v>
                </c:pt>
              </c:strCache>
            </c:strRef>
          </c:cat>
          <c:val>
            <c:numRef>
              <c:f>Foglio1!$B$2:$B$5</c:f>
              <c:numCache>
                <c:formatCode>0</c:formatCode>
                <c:ptCount val="4"/>
                <c:pt idx="0">
                  <c:v>47</c:v>
                </c:pt>
                <c:pt idx="1">
                  <c:v>47</c:v>
                </c:pt>
                <c:pt idx="2">
                  <c:v>4</c:v>
                </c:pt>
                <c:pt idx="3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"/>
        <c:axId val="113913216"/>
        <c:axId val="116532352"/>
      </c:barChart>
      <c:catAx>
        <c:axId val="113913216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>
                <a:latin typeface="Century Gothic" pitchFamily="34" charset="0"/>
              </a:defRPr>
            </a:pPr>
            <a:endParaRPr lang="it-IT"/>
          </a:p>
        </c:txPr>
        <c:crossAx val="116532352"/>
        <c:crosses val="autoZero"/>
        <c:auto val="1"/>
        <c:lblAlgn val="ctr"/>
        <c:lblOffset val="100"/>
        <c:noMultiLvlLbl val="0"/>
      </c:catAx>
      <c:valAx>
        <c:axId val="116532352"/>
        <c:scaling>
          <c:orientation val="minMax"/>
          <c:max val="100"/>
          <c:min val="0"/>
        </c:scaling>
        <c:delete val="1"/>
        <c:axPos val="t"/>
        <c:numFmt formatCode="#,##0" sourceLinked="0"/>
        <c:majorTickMark val="out"/>
        <c:minorTickMark val="none"/>
        <c:tickLblPos val="nextTo"/>
        <c:crossAx val="113913216"/>
        <c:crosses val="autoZero"/>
        <c:crossBetween val="between"/>
        <c:majorUnit val="10"/>
        <c:minorUnit val="5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it-IT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24"/>
    </mc:Choice>
    <mc:Fallback>
      <c:style val="24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0546508292792393"/>
          <c:y val="1.2948755300896701E-2"/>
          <c:w val="0.49644142446866757"/>
          <c:h val="0.9050269973901119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spPr>
            <a:solidFill>
              <a:srgbClr val="E95E0F"/>
            </a:solidFill>
          </c:spPr>
          <c:invertIfNegative val="0"/>
          <c:dPt>
            <c:idx val="1"/>
            <c:invertIfNegative val="0"/>
            <c:bubble3D val="0"/>
          </c:dPt>
          <c:dPt>
            <c:idx val="2"/>
            <c:invertIfNegative val="0"/>
            <c:bubble3D val="0"/>
            <c:spPr>
              <a:solidFill>
                <a:srgbClr val="FFFFFF">
                  <a:lumMod val="65000"/>
                </a:srgbClr>
              </a:solidFill>
            </c:spPr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  <c:spPr>
              <a:solidFill>
                <a:srgbClr val="FFFFFF">
                  <a:lumMod val="65000"/>
                </a:srgbClr>
              </a:solidFill>
            </c:spPr>
          </c:dPt>
          <c:dPt>
            <c:idx val="6"/>
            <c:invertIfNegative val="0"/>
            <c:bubble3D val="0"/>
            <c:spPr>
              <a:solidFill>
                <a:srgbClr val="FFFFFF">
                  <a:lumMod val="65000"/>
                </a:srgbClr>
              </a:solidFill>
            </c:spPr>
          </c:dPt>
          <c:dPt>
            <c:idx val="9"/>
            <c:invertIfNegative val="0"/>
            <c:bubble3D val="0"/>
            <c:spPr>
              <a:solidFill>
                <a:srgbClr val="FFFFFF">
                  <a:lumMod val="50000"/>
                </a:srgbClr>
              </a:solidFill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latin typeface="Century Gothic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Foglio1!$A$2:$A$5</c:f>
              <c:numCache>
                <c:formatCode>General</c:formatCode>
                <c:ptCount val="4"/>
              </c:numCache>
            </c:numRef>
          </c:cat>
          <c:val>
            <c:numRef>
              <c:f>Foglio1!$B$2:$B$5</c:f>
              <c:numCache>
                <c:formatCode>0</c:formatCode>
                <c:ptCount val="4"/>
                <c:pt idx="0">
                  <c:v>55</c:v>
                </c:pt>
                <c:pt idx="1">
                  <c:v>41</c:v>
                </c:pt>
                <c:pt idx="2">
                  <c:v>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"/>
        <c:axId val="126442496"/>
        <c:axId val="126456576"/>
      </c:barChart>
      <c:catAx>
        <c:axId val="126442496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26456576"/>
        <c:crosses val="autoZero"/>
        <c:auto val="1"/>
        <c:lblAlgn val="ctr"/>
        <c:lblOffset val="100"/>
        <c:noMultiLvlLbl val="0"/>
      </c:catAx>
      <c:valAx>
        <c:axId val="126456576"/>
        <c:scaling>
          <c:orientation val="minMax"/>
          <c:max val="100"/>
          <c:min val="0"/>
        </c:scaling>
        <c:delete val="1"/>
        <c:axPos val="t"/>
        <c:numFmt formatCode="#,##0" sourceLinked="0"/>
        <c:majorTickMark val="out"/>
        <c:minorTickMark val="none"/>
        <c:tickLblPos val="nextTo"/>
        <c:crossAx val="126442496"/>
        <c:crosses val="autoZero"/>
        <c:crossBetween val="between"/>
        <c:majorUnit val="10"/>
        <c:minorUnit val="5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it-IT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24"/>
    </mc:Choice>
    <mc:Fallback>
      <c:style val="24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0546508292792393"/>
          <c:y val="1.2948755300896701E-2"/>
          <c:w val="0.49644142446866757"/>
          <c:h val="0.9870513390074986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spPr>
            <a:solidFill>
              <a:srgbClr val="E95E0F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E95E0F"/>
              </a:solidFill>
              <a:ln>
                <a:solidFill>
                  <a:srgbClr val="000000"/>
                </a:solidFill>
              </a:ln>
            </c:spPr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6"/>
            <c:invertIfNegative val="0"/>
            <c:bubble3D val="0"/>
          </c:dPt>
          <c:dPt>
            <c:idx val="9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latin typeface="Century Gothic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Foglio1!$A$2:$A$14</c:f>
              <c:strCache>
                <c:ptCount val="11"/>
                <c:pt idx="0">
                  <c:v>&gt; ALMENO UNO </c:v>
                </c:pt>
                <c:pt idx="1">
                  <c:v>   - PRESENZA DI VENDITORI ABUSIVI</c:v>
                </c:pt>
                <c:pt idx="2">
                  <c:v>   - NEGOZI SFITTI</c:v>
                </c:pt>
                <c:pt idx="3">
                  <c:v>   - PRESENZA DI NOMADI</c:v>
                </c:pt>
                <c:pt idx="4">
                  <c:v>   - PRESENZA DI TOSSICODIPENDENTI</c:v>
                </c:pt>
                <c:pt idx="5">
                  <c:v>   - SPACCIO DI DROGA</c:v>
                </c:pt>
                <c:pt idx="6">
                  <c:v>   - EDIFICI ABBANDONATI</c:v>
                </c:pt>
                <c:pt idx="7">
                  <c:v>   - ATTIVITA' DI PROSTITUZIONE</c:v>
                </c:pt>
                <c:pt idx="8">
                  <c:v>   - CASE OCCUPATE ABUSIVAMENTE</c:v>
                </c:pt>
                <c:pt idx="9">
                  <c:v>   - BABY GANG</c:v>
                </c:pt>
                <c:pt idx="10">
                  <c:v>   - RISSE TRA BANDE RIVALI</c:v>
                </c:pt>
              </c:strCache>
            </c:strRef>
          </c:cat>
          <c:val>
            <c:numRef>
              <c:f>Foglio1!$B$2:$B$14</c:f>
              <c:numCache>
                <c:formatCode>0</c:formatCode>
                <c:ptCount val="13"/>
                <c:pt idx="0">
                  <c:v>81</c:v>
                </c:pt>
                <c:pt idx="1">
                  <c:v>47</c:v>
                </c:pt>
                <c:pt idx="2">
                  <c:v>46</c:v>
                </c:pt>
                <c:pt idx="3">
                  <c:v>35</c:v>
                </c:pt>
                <c:pt idx="4">
                  <c:v>18</c:v>
                </c:pt>
                <c:pt idx="5">
                  <c:v>14</c:v>
                </c:pt>
                <c:pt idx="6">
                  <c:v>13</c:v>
                </c:pt>
                <c:pt idx="7">
                  <c:v>7</c:v>
                </c:pt>
                <c:pt idx="8">
                  <c:v>5</c:v>
                </c:pt>
                <c:pt idx="9">
                  <c:v>4</c:v>
                </c:pt>
                <c:pt idx="10">
                  <c:v>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"/>
        <c:axId val="127769216"/>
        <c:axId val="127775104"/>
      </c:barChart>
      <c:catAx>
        <c:axId val="127769216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27775104"/>
        <c:crosses val="autoZero"/>
        <c:auto val="1"/>
        <c:lblAlgn val="ctr"/>
        <c:lblOffset val="100"/>
        <c:noMultiLvlLbl val="0"/>
      </c:catAx>
      <c:valAx>
        <c:axId val="127775104"/>
        <c:scaling>
          <c:orientation val="minMax"/>
          <c:max val="100"/>
          <c:min val="0"/>
        </c:scaling>
        <c:delete val="1"/>
        <c:axPos val="t"/>
        <c:numFmt formatCode="#,##0" sourceLinked="0"/>
        <c:majorTickMark val="out"/>
        <c:minorTickMark val="none"/>
        <c:tickLblPos val="nextTo"/>
        <c:crossAx val="127769216"/>
        <c:crosses val="autoZero"/>
        <c:crossBetween val="between"/>
        <c:majorUnit val="10"/>
        <c:minorUnit val="5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it-IT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24"/>
    </mc:Choice>
    <mc:Fallback>
      <c:style val="24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8184051801826965"/>
          <c:y val="0"/>
          <c:w val="0.49644142446866757"/>
          <c:h val="0.7205072576224886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spPr>
            <a:solidFill>
              <a:srgbClr val="E95E0F"/>
            </a:solidFill>
          </c:spPr>
          <c:invertIfNegative val="0"/>
          <c:dPt>
            <c:idx val="3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latin typeface="Century Gothic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Foglio1!$A$2:$A$8</c:f>
              <c:strCache>
                <c:ptCount val="7"/>
                <c:pt idx="0">
                  <c:v>furti</c:v>
                </c:pt>
                <c:pt idx="1">
                  <c:v>abusivismo</c:v>
                </c:pt>
                <c:pt idx="2">
                  <c:v>contraffazione</c:v>
                </c:pt>
                <c:pt idx="3">
                  <c:v>rapine</c:v>
                </c:pt>
                <c:pt idx="4">
                  <c:v>usura</c:v>
                </c:pt>
                <c:pt idx="5">
                  <c:v>tangenti negli appalti</c:v>
                </c:pt>
                <c:pt idx="6">
                  <c:v>estorsione</c:v>
                </c:pt>
              </c:strCache>
            </c:strRef>
          </c:cat>
          <c:val>
            <c:numRef>
              <c:f>Foglio1!$B$2:$B$8</c:f>
              <c:numCache>
                <c:formatCode>0</c:formatCode>
                <c:ptCount val="7"/>
                <c:pt idx="0">
                  <c:v>68</c:v>
                </c:pt>
                <c:pt idx="1">
                  <c:v>55</c:v>
                </c:pt>
                <c:pt idx="2">
                  <c:v>52</c:v>
                </c:pt>
                <c:pt idx="3">
                  <c:v>50</c:v>
                </c:pt>
                <c:pt idx="4">
                  <c:v>30</c:v>
                </c:pt>
                <c:pt idx="5">
                  <c:v>28</c:v>
                </c:pt>
                <c:pt idx="6">
                  <c:v>2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"/>
        <c:axId val="117157248"/>
        <c:axId val="117195904"/>
      </c:barChart>
      <c:catAx>
        <c:axId val="11715724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>
                <a:latin typeface="Century Gothic" pitchFamily="34" charset="0"/>
              </a:defRPr>
            </a:pPr>
            <a:endParaRPr lang="it-IT"/>
          </a:p>
        </c:txPr>
        <c:crossAx val="117195904"/>
        <c:crosses val="autoZero"/>
        <c:auto val="1"/>
        <c:lblAlgn val="ctr"/>
        <c:lblOffset val="100"/>
        <c:noMultiLvlLbl val="0"/>
      </c:catAx>
      <c:valAx>
        <c:axId val="117195904"/>
        <c:scaling>
          <c:orientation val="minMax"/>
          <c:max val="100"/>
          <c:min val="0"/>
        </c:scaling>
        <c:delete val="1"/>
        <c:axPos val="t"/>
        <c:numFmt formatCode="#,##0" sourceLinked="0"/>
        <c:majorTickMark val="out"/>
        <c:minorTickMark val="none"/>
        <c:tickLblPos val="nextTo"/>
        <c:crossAx val="117157248"/>
        <c:crosses val="autoZero"/>
        <c:crossBetween val="between"/>
        <c:majorUnit val="10"/>
        <c:minorUnit val="5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it-IT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24"/>
    </mc:Choice>
    <mc:Fallback>
      <c:style val="24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8184051801826965"/>
          <c:y val="0"/>
          <c:w val="0.49644142446866757"/>
          <c:h val="0.7205072576224886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spPr>
            <a:solidFill>
              <a:srgbClr val="E95E0F"/>
            </a:solidFill>
          </c:spPr>
          <c:invertIfNegative val="0"/>
          <c:dPt>
            <c:idx val="3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latin typeface="Century Gothic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Foglio1!$A$2:$A$4</c:f>
              <c:strCache>
                <c:ptCount val="3"/>
                <c:pt idx="0">
                  <c:v>HA AVUTO ESPERIENZA (indirettae/o diretta)</c:v>
                </c:pt>
                <c:pt idx="1">
                  <c:v>indiretta</c:v>
                </c:pt>
                <c:pt idx="2">
                  <c:v>diretta</c:v>
                </c:pt>
              </c:strCache>
            </c:strRef>
          </c:cat>
          <c:val>
            <c:numRef>
              <c:f>Foglio1!$B$2:$B$4</c:f>
              <c:numCache>
                <c:formatCode>0</c:formatCode>
                <c:ptCount val="3"/>
                <c:pt idx="0">
                  <c:v>15</c:v>
                </c:pt>
                <c:pt idx="1">
                  <c:v>11</c:v>
                </c:pt>
                <c:pt idx="2">
                  <c:v>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"/>
        <c:axId val="117992832"/>
        <c:axId val="118203520"/>
      </c:barChart>
      <c:catAx>
        <c:axId val="117992832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>
                <a:latin typeface="Century Gothic" pitchFamily="34" charset="0"/>
              </a:defRPr>
            </a:pPr>
            <a:endParaRPr lang="it-IT"/>
          </a:p>
        </c:txPr>
        <c:crossAx val="118203520"/>
        <c:crosses val="autoZero"/>
        <c:auto val="1"/>
        <c:lblAlgn val="ctr"/>
        <c:lblOffset val="100"/>
        <c:noMultiLvlLbl val="0"/>
      </c:catAx>
      <c:valAx>
        <c:axId val="118203520"/>
        <c:scaling>
          <c:orientation val="minMax"/>
          <c:max val="100"/>
          <c:min val="0"/>
        </c:scaling>
        <c:delete val="1"/>
        <c:axPos val="t"/>
        <c:numFmt formatCode="#,##0" sourceLinked="0"/>
        <c:majorTickMark val="out"/>
        <c:minorTickMark val="none"/>
        <c:tickLblPos val="nextTo"/>
        <c:crossAx val="117992832"/>
        <c:crosses val="autoZero"/>
        <c:crossBetween val="between"/>
        <c:majorUnit val="10"/>
        <c:minorUnit val="5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it-IT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24"/>
    </mc:Choice>
    <mc:Fallback>
      <c:style val="24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0546508292792393"/>
          <c:y val="1.2948755300896701E-2"/>
          <c:w val="0.49644142446866757"/>
          <c:h val="0.9050269973901119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spPr>
            <a:solidFill>
              <a:srgbClr val="E95E0F"/>
            </a:solidFill>
          </c:spPr>
          <c:invertIfNegative val="0"/>
          <c:dPt>
            <c:idx val="1"/>
            <c:invertIfNegative val="0"/>
            <c:bubble3D val="0"/>
          </c:dPt>
          <c:dPt>
            <c:idx val="2"/>
            <c:invertIfNegative val="0"/>
            <c:bubble3D val="0"/>
            <c:spPr>
              <a:pattFill prst="dkUpDiag">
                <a:fgClr>
                  <a:srgbClr val="E95E0F"/>
                </a:fgClr>
                <a:bgClr>
                  <a:srgbClr val="FFFFFF"/>
                </a:bgClr>
              </a:pattFill>
            </c:spPr>
          </c:dPt>
          <c:dPt>
            <c:idx val="3"/>
            <c:invertIfNegative val="0"/>
            <c:bubble3D val="0"/>
            <c:spPr>
              <a:pattFill prst="dkUpDiag">
                <a:fgClr>
                  <a:srgbClr val="E95E0F"/>
                </a:fgClr>
                <a:bgClr>
                  <a:srgbClr val="FFFFFF"/>
                </a:bgClr>
              </a:pattFill>
            </c:spPr>
          </c:dPt>
          <c:dPt>
            <c:idx val="5"/>
            <c:invertIfNegative val="0"/>
            <c:bubble3D val="0"/>
            <c:spPr>
              <a:solidFill>
                <a:srgbClr val="FFFFFF">
                  <a:lumMod val="65000"/>
                </a:srgbClr>
              </a:solidFill>
            </c:spPr>
          </c:dPt>
          <c:dPt>
            <c:idx val="9"/>
            <c:invertIfNegative val="0"/>
            <c:bubble3D val="0"/>
            <c:spPr>
              <a:solidFill>
                <a:srgbClr val="FFFFFF">
                  <a:lumMod val="50000"/>
                </a:srgbClr>
              </a:solidFill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latin typeface="Century Gothic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Foglio1!$A$2:$A$8</c:f>
              <c:numCache>
                <c:formatCode>General</c:formatCode>
                <c:ptCount val="7"/>
              </c:numCache>
            </c:numRef>
          </c:cat>
          <c:val>
            <c:numRef>
              <c:f>Foglio1!$B$2:$B$8</c:f>
              <c:numCache>
                <c:formatCode>0</c:formatCode>
                <c:ptCount val="7"/>
                <c:pt idx="0">
                  <c:v>40</c:v>
                </c:pt>
                <c:pt idx="1">
                  <c:v>25</c:v>
                </c:pt>
                <c:pt idx="2">
                  <c:v>21</c:v>
                </c:pt>
                <c:pt idx="3">
                  <c:v>8</c:v>
                </c:pt>
                <c:pt idx="5">
                  <c:v>4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"/>
        <c:axId val="119621888"/>
        <c:axId val="119631872"/>
      </c:barChart>
      <c:catAx>
        <c:axId val="119621888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19631872"/>
        <c:crosses val="autoZero"/>
        <c:auto val="1"/>
        <c:lblAlgn val="ctr"/>
        <c:lblOffset val="100"/>
        <c:noMultiLvlLbl val="0"/>
      </c:catAx>
      <c:valAx>
        <c:axId val="119631872"/>
        <c:scaling>
          <c:orientation val="minMax"/>
          <c:max val="100"/>
          <c:min val="0"/>
        </c:scaling>
        <c:delete val="1"/>
        <c:axPos val="t"/>
        <c:numFmt formatCode="#,##0" sourceLinked="0"/>
        <c:majorTickMark val="out"/>
        <c:minorTickMark val="none"/>
        <c:tickLblPos val="nextTo"/>
        <c:crossAx val="119621888"/>
        <c:crosses val="autoZero"/>
        <c:crossBetween val="between"/>
        <c:majorUnit val="10"/>
        <c:minorUnit val="5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it-IT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24"/>
    </mc:Choice>
    <mc:Fallback>
      <c:style val="24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0546508292792393"/>
          <c:y val="1.2948755300896701E-2"/>
          <c:w val="0.49644142446866757"/>
          <c:h val="0.9050269973901119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spPr>
            <a:solidFill>
              <a:srgbClr val="E95E0F"/>
            </a:solidFill>
          </c:spPr>
          <c:invertIfNegative val="0"/>
          <c:dPt>
            <c:idx val="1"/>
            <c:invertIfNegative val="0"/>
            <c:bubble3D val="0"/>
            <c:spPr>
              <a:pattFill prst="dkUpDiag">
                <a:fgClr>
                  <a:srgbClr val="E95E0F"/>
                </a:fgClr>
                <a:bgClr>
                  <a:srgbClr val="FFFFFF"/>
                </a:bgClr>
              </a:pattFill>
            </c:spPr>
          </c:dPt>
          <c:dPt>
            <c:idx val="2"/>
            <c:invertIfNegative val="0"/>
            <c:bubble3D val="0"/>
            <c:spPr>
              <a:pattFill prst="dkUpDiag">
                <a:fgClr>
                  <a:srgbClr val="E95E0F"/>
                </a:fgClr>
                <a:bgClr>
                  <a:srgbClr val="FFFFFF"/>
                </a:bgClr>
              </a:pattFill>
            </c:spPr>
          </c:dPt>
          <c:dPt>
            <c:idx val="3"/>
            <c:invertIfNegative val="0"/>
            <c:bubble3D val="0"/>
          </c:dPt>
          <c:dPt>
            <c:idx val="6"/>
            <c:invertIfNegative val="0"/>
            <c:bubble3D val="0"/>
            <c:spPr>
              <a:solidFill>
                <a:srgbClr val="FFFFFF">
                  <a:lumMod val="65000"/>
                </a:srgbClr>
              </a:solidFill>
            </c:spPr>
          </c:dPt>
          <c:dPt>
            <c:idx val="9"/>
            <c:invertIfNegative val="0"/>
            <c:bubble3D val="0"/>
            <c:spPr>
              <a:solidFill>
                <a:srgbClr val="FFFFFF">
                  <a:lumMod val="50000"/>
                </a:srgbClr>
              </a:solidFill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latin typeface="Century Gothic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Foglio1!$A$2:$A$8</c:f>
              <c:strCache>
                <c:ptCount val="5"/>
                <c:pt idx="0">
                  <c:v>PRESSIONI PSICOLOGICHE</c:v>
                </c:pt>
                <c:pt idx="1">
                  <c:v>…tramite telefonata</c:v>
                </c:pt>
                <c:pt idx="2">
                  <c:v>… tramite visita</c:v>
                </c:pt>
                <c:pt idx="3">
                  <c:v>   DANNEGGIAMENTO A COSE</c:v>
                </c:pt>
                <c:pt idx="4">
                  <c:v>   VIOLENZA ALLE PERSONE</c:v>
                </c:pt>
              </c:strCache>
            </c:strRef>
          </c:cat>
          <c:val>
            <c:numRef>
              <c:f>Foglio1!$B$2:$B$8</c:f>
              <c:numCache>
                <c:formatCode>0</c:formatCode>
                <c:ptCount val="7"/>
                <c:pt idx="0">
                  <c:v>59</c:v>
                </c:pt>
                <c:pt idx="1">
                  <c:v>27</c:v>
                </c:pt>
                <c:pt idx="2">
                  <c:v>39</c:v>
                </c:pt>
                <c:pt idx="3">
                  <c:v>35</c:v>
                </c:pt>
                <c:pt idx="4">
                  <c:v>7.2</c:v>
                </c:pt>
                <c:pt idx="6">
                  <c:v>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"/>
        <c:axId val="120703616"/>
        <c:axId val="120729984"/>
      </c:barChart>
      <c:catAx>
        <c:axId val="120703616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20729984"/>
        <c:crosses val="autoZero"/>
        <c:auto val="1"/>
        <c:lblAlgn val="ctr"/>
        <c:lblOffset val="100"/>
        <c:noMultiLvlLbl val="0"/>
      </c:catAx>
      <c:valAx>
        <c:axId val="120729984"/>
        <c:scaling>
          <c:orientation val="minMax"/>
          <c:max val="100"/>
          <c:min val="0"/>
        </c:scaling>
        <c:delete val="1"/>
        <c:axPos val="t"/>
        <c:numFmt formatCode="#,##0" sourceLinked="0"/>
        <c:majorTickMark val="out"/>
        <c:minorTickMark val="none"/>
        <c:tickLblPos val="nextTo"/>
        <c:crossAx val="120703616"/>
        <c:crosses val="autoZero"/>
        <c:crossBetween val="between"/>
        <c:majorUnit val="10"/>
        <c:minorUnit val="5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it-IT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24"/>
    </mc:Choice>
    <mc:Fallback>
      <c:style val="24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0546508292792393"/>
          <c:y val="1.2948755300896701E-2"/>
          <c:w val="0.49644142446866757"/>
          <c:h val="0.9050269973901119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spPr>
            <a:solidFill>
              <a:srgbClr val="E95E0F"/>
            </a:solidFill>
          </c:spPr>
          <c:invertIfNegative val="0"/>
          <c:dPt>
            <c:idx val="1"/>
            <c:invertIfNegative val="0"/>
            <c:bubble3D val="0"/>
          </c:dPt>
          <c:dPt>
            <c:idx val="2"/>
            <c:invertIfNegative val="0"/>
            <c:bubble3D val="0"/>
            <c:spPr>
              <a:pattFill prst="dkUpDiag">
                <a:fgClr>
                  <a:srgbClr val="E95E0F"/>
                </a:fgClr>
                <a:bgClr>
                  <a:srgbClr val="FFFFFF"/>
                </a:bgClr>
              </a:pattFill>
            </c:spPr>
          </c:dPt>
          <c:dPt>
            <c:idx val="3"/>
            <c:invertIfNegative val="0"/>
            <c:bubble3D val="0"/>
            <c:spPr>
              <a:pattFill prst="dkUpDiag">
                <a:fgClr>
                  <a:srgbClr val="E95E0F"/>
                </a:fgClr>
                <a:bgClr>
                  <a:srgbClr val="FFFFFF"/>
                </a:bgClr>
              </a:pattFill>
            </c:spPr>
          </c:dPt>
          <c:dPt>
            <c:idx val="5"/>
            <c:invertIfNegative val="0"/>
            <c:bubble3D val="0"/>
            <c:spPr>
              <a:solidFill>
                <a:srgbClr val="FFFFFF">
                  <a:lumMod val="65000"/>
                </a:srgbClr>
              </a:solidFill>
            </c:spPr>
          </c:dPt>
          <c:dPt>
            <c:idx val="6"/>
            <c:invertIfNegative val="0"/>
            <c:bubble3D val="0"/>
            <c:spPr>
              <a:solidFill>
                <a:srgbClr val="FFFFFF">
                  <a:lumMod val="65000"/>
                </a:srgbClr>
              </a:solidFill>
            </c:spPr>
          </c:dPt>
          <c:dPt>
            <c:idx val="9"/>
            <c:invertIfNegative val="0"/>
            <c:bubble3D val="0"/>
            <c:spPr>
              <a:solidFill>
                <a:srgbClr val="FFFFFF">
                  <a:lumMod val="50000"/>
                </a:srgbClr>
              </a:solidFill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latin typeface="Century Gothic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Foglio1!$A$2:$A$7</c:f>
              <c:numCache>
                <c:formatCode>General</c:formatCode>
                <c:ptCount val="6"/>
              </c:numCache>
            </c:numRef>
          </c:cat>
          <c:val>
            <c:numRef>
              <c:f>Foglio1!$B$2:$B$7</c:f>
              <c:numCache>
                <c:formatCode>0</c:formatCode>
                <c:ptCount val="6"/>
                <c:pt idx="0">
                  <c:v>60</c:v>
                </c:pt>
                <c:pt idx="1">
                  <c:v>27</c:v>
                </c:pt>
                <c:pt idx="2">
                  <c:v>10</c:v>
                </c:pt>
                <c:pt idx="3">
                  <c:v>17</c:v>
                </c:pt>
                <c:pt idx="5">
                  <c:v>1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"/>
        <c:axId val="122145792"/>
        <c:axId val="122155776"/>
      </c:barChart>
      <c:catAx>
        <c:axId val="122145792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22155776"/>
        <c:crosses val="autoZero"/>
        <c:auto val="1"/>
        <c:lblAlgn val="ctr"/>
        <c:lblOffset val="100"/>
        <c:noMultiLvlLbl val="0"/>
      </c:catAx>
      <c:valAx>
        <c:axId val="122155776"/>
        <c:scaling>
          <c:orientation val="minMax"/>
          <c:max val="100"/>
          <c:min val="0"/>
        </c:scaling>
        <c:delete val="1"/>
        <c:axPos val="t"/>
        <c:numFmt formatCode="#,##0" sourceLinked="0"/>
        <c:majorTickMark val="out"/>
        <c:minorTickMark val="none"/>
        <c:tickLblPos val="nextTo"/>
        <c:crossAx val="122145792"/>
        <c:crosses val="autoZero"/>
        <c:crossBetween val="between"/>
        <c:majorUnit val="10"/>
        <c:minorUnit val="5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it-IT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24"/>
    </mc:Choice>
    <mc:Fallback>
      <c:style val="24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0546508292792393"/>
          <c:y val="1.2948755300896701E-2"/>
          <c:w val="0.49644142446866757"/>
          <c:h val="0.9050269973901119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spPr>
            <a:solidFill>
              <a:srgbClr val="E95E0F"/>
            </a:solidFill>
          </c:spPr>
          <c:invertIfNegative val="0"/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  <c:spPr>
              <a:solidFill>
                <a:srgbClr val="FFFFFF">
                  <a:lumMod val="65000"/>
                </a:srgbClr>
              </a:solidFill>
            </c:spPr>
          </c:dPt>
          <c:dPt>
            <c:idx val="6"/>
            <c:invertIfNegative val="0"/>
            <c:bubble3D val="0"/>
            <c:spPr>
              <a:solidFill>
                <a:srgbClr val="FFFFFF">
                  <a:lumMod val="65000"/>
                </a:srgbClr>
              </a:solidFill>
            </c:spPr>
          </c:dPt>
          <c:dPt>
            <c:idx val="9"/>
            <c:invertIfNegative val="0"/>
            <c:bubble3D val="0"/>
            <c:spPr>
              <a:solidFill>
                <a:srgbClr val="FFFFFF">
                  <a:lumMod val="50000"/>
                </a:srgbClr>
              </a:solidFill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latin typeface="Century Gothic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Foglio1!$A$2:$A$7</c:f>
              <c:strCache>
                <c:ptCount val="5"/>
                <c:pt idx="0">
                  <c:v>   - CON ESBORSO DI DENARO</c:v>
                </c:pt>
                <c:pt idx="1">
                  <c:v>   - MEDIANTE CONSEGNA DI MERCE</c:v>
                </c:pt>
                <c:pt idx="2">
                  <c:v>   - ACQUISTANDO DA FORNITORI IMPOSTI</c:v>
                </c:pt>
                <c:pt idx="3">
                  <c:v>   - ASSUMENDO PERSONALE IMPOSTO</c:v>
                </c:pt>
                <c:pt idx="4">
                  <c:v>   - CEDENDO QUOTE DELL'AZIENDA</c:v>
                </c:pt>
              </c:strCache>
            </c:strRef>
          </c:cat>
          <c:val>
            <c:numRef>
              <c:f>Foglio1!$B$2:$B$7</c:f>
              <c:numCache>
                <c:formatCode>0</c:formatCode>
                <c:ptCount val="6"/>
                <c:pt idx="0">
                  <c:v>43.7</c:v>
                </c:pt>
                <c:pt idx="1">
                  <c:v>34</c:v>
                </c:pt>
                <c:pt idx="2">
                  <c:v>15</c:v>
                </c:pt>
                <c:pt idx="3">
                  <c:v>8</c:v>
                </c:pt>
                <c:pt idx="4">
                  <c:v>5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"/>
        <c:axId val="123360384"/>
        <c:axId val="123361920"/>
      </c:barChart>
      <c:catAx>
        <c:axId val="12336038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23361920"/>
        <c:crosses val="autoZero"/>
        <c:auto val="1"/>
        <c:lblAlgn val="ctr"/>
        <c:lblOffset val="100"/>
        <c:noMultiLvlLbl val="0"/>
      </c:catAx>
      <c:valAx>
        <c:axId val="123361920"/>
        <c:scaling>
          <c:orientation val="minMax"/>
          <c:max val="100"/>
          <c:min val="0"/>
        </c:scaling>
        <c:delete val="1"/>
        <c:axPos val="t"/>
        <c:numFmt formatCode="#,##0" sourceLinked="0"/>
        <c:majorTickMark val="out"/>
        <c:minorTickMark val="none"/>
        <c:tickLblPos val="nextTo"/>
        <c:crossAx val="123360384"/>
        <c:crosses val="autoZero"/>
        <c:crossBetween val="between"/>
        <c:majorUnit val="10"/>
        <c:minorUnit val="5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it-IT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24"/>
    </mc:Choice>
    <mc:Fallback>
      <c:style val="24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0546508292792393"/>
          <c:y val="1.2948755300896701E-2"/>
          <c:w val="0.49644142446866757"/>
          <c:h val="0.9665881397562301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spPr>
            <a:solidFill>
              <a:srgbClr val="E95E0F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E95E0F"/>
              </a:solidFill>
              <a:ln>
                <a:solidFill>
                  <a:srgbClr val="000000"/>
                </a:solidFill>
              </a:ln>
            </c:spPr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6"/>
            <c:invertIfNegative val="0"/>
            <c:bubble3D val="0"/>
          </c:dPt>
          <c:dPt>
            <c:idx val="9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latin typeface="Century Gothic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Foglio1!$A$2:$A$10</c:f>
              <c:strCache>
                <c:ptCount val="9"/>
                <c:pt idx="0">
                  <c:v>ALMENO 1</c:v>
                </c:pt>
                <c:pt idx="1">
                  <c:v>   - TELECAMERE/IMPIANTI DI ALLARME</c:v>
                </c:pt>
                <c:pt idx="2">
                  <c:v>   - ASSICURAZIONE</c:v>
                </c:pt>
                <c:pt idx="3">
                  <c:v>   - VIGILANZA PRIVATA</c:v>
                </c:pt>
                <c:pt idx="4">
                  <c:v>   - VETRINA CORAZZATA</c:v>
                </c:pt>
                <c:pt idx="5">
                  <c:v>   - DENUNCIA</c:v>
                </c:pt>
                <c:pt idx="6">
                  <c:v>   - ASSOCIAZIONE DI CATEGORIA</c:v>
                </c:pt>
                <c:pt idx="7">
                  <c:v>   - RICHIESTA INFORMALE PROTEZIONE POLIZIA</c:v>
                </c:pt>
                <c:pt idx="8">
                  <c:v>   - ASSOCIAZIONI ANTIRACKET/ANTIUSURA</c:v>
                </c:pt>
              </c:strCache>
            </c:strRef>
          </c:cat>
          <c:val>
            <c:numRef>
              <c:f>Foglio1!$B$2:$B$10</c:f>
              <c:numCache>
                <c:formatCode>0</c:formatCode>
                <c:ptCount val="9"/>
                <c:pt idx="0">
                  <c:v>50</c:v>
                </c:pt>
                <c:pt idx="1">
                  <c:v>34</c:v>
                </c:pt>
                <c:pt idx="2">
                  <c:v>22</c:v>
                </c:pt>
                <c:pt idx="3">
                  <c:v>16</c:v>
                </c:pt>
                <c:pt idx="4">
                  <c:v>9</c:v>
                </c:pt>
                <c:pt idx="5">
                  <c:v>7</c:v>
                </c:pt>
                <c:pt idx="6">
                  <c:v>6</c:v>
                </c:pt>
                <c:pt idx="7">
                  <c:v>4.2</c:v>
                </c:pt>
                <c:pt idx="8">
                  <c:v>0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"/>
        <c:axId val="124617856"/>
        <c:axId val="124619392"/>
      </c:barChart>
      <c:catAx>
        <c:axId val="124617856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24619392"/>
        <c:crosses val="autoZero"/>
        <c:auto val="1"/>
        <c:lblAlgn val="ctr"/>
        <c:lblOffset val="100"/>
        <c:noMultiLvlLbl val="0"/>
      </c:catAx>
      <c:valAx>
        <c:axId val="124619392"/>
        <c:scaling>
          <c:orientation val="minMax"/>
          <c:max val="100"/>
          <c:min val="0"/>
        </c:scaling>
        <c:delete val="1"/>
        <c:axPos val="t"/>
        <c:numFmt formatCode="#,##0" sourceLinked="0"/>
        <c:majorTickMark val="out"/>
        <c:minorTickMark val="none"/>
        <c:tickLblPos val="nextTo"/>
        <c:crossAx val="124617856"/>
        <c:crosses val="autoZero"/>
        <c:crossBetween val="between"/>
        <c:majorUnit val="10"/>
        <c:minorUnit val="5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it-IT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24"/>
    </mc:Choice>
    <mc:Fallback>
      <c:style val="24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009485148581753"/>
          <c:y val="9.66456156755496E-3"/>
          <c:w val="0.49644142446866757"/>
          <c:h val="0.9665881397562301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spPr>
            <a:solidFill>
              <a:srgbClr val="E95E0F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6"/>
            <c:invertIfNegative val="0"/>
            <c:bubble3D val="0"/>
          </c:dPt>
          <c:dPt>
            <c:idx val="9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latin typeface="Century Gothic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Foglio1!$A$2:$A$9</c:f>
              <c:strCache>
                <c:ptCount val="6"/>
                <c:pt idx="0">
                  <c:v>   - MAGGIORE PROTEZIONE SUL TERRITORIO DA PARTE DELLE FORZE DELL'ORDINE</c:v>
                </c:pt>
                <c:pt idx="1">
                  <c:v>   - CERTEZZA DELLA PENA</c:v>
                </c:pt>
                <c:pt idx="2">
                  <c:v>   - MAGGIORE COLLABORAZIONE CON LE FORZE DELL'ORDINE</c:v>
                </c:pt>
                <c:pt idx="3">
                  <c:v>   - INTERVENTI DI ENTI LOCALI PER POLIZIOTTI DI QUARTIERE/POLIZIA LOCALE</c:v>
                </c:pt>
                <c:pt idx="4">
                  <c:v>   - MAGGIORI INTERVENTI DELLE ASSOCIAZIONI DI CATEGORIA</c:v>
                </c:pt>
                <c:pt idx="5">
                  <c:v>   - ASSOCIAZIONISMO ANTIRACKET</c:v>
                </c:pt>
              </c:strCache>
            </c:strRef>
          </c:cat>
          <c:val>
            <c:numRef>
              <c:f>Foglio1!$B$2:$B$9</c:f>
              <c:numCache>
                <c:formatCode>0</c:formatCode>
                <c:ptCount val="8"/>
                <c:pt idx="0">
                  <c:v>64</c:v>
                </c:pt>
                <c:pt idx="1">
                  <c:v>58</c:v>
                </c:pt>
                <c:pt idx="2">
                  <c:v>26</c:v>
                </c:pt>
                <c:pt idx="3">
                  <c:v>19</c:v>
                </c:pt>
                <c:pt idx="4">
                  <c:v>13</c:v>
                </c:pt>
                <c:pt idx="5">
                  <c:v>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"/>
        <c:axId val="125935616"/>
        <c:axId val="125937152"/>
      </c:barChart>
      <c:catAx>
        <c:axId val="125935616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25937152"/>
        <c:crosses val="autoZero"/>
        <c:auto val="1"/>
        <c:lblAlgn val="ctr"/>
        <c:lblOffset val="100"/>
        <c:noMultiLvlLbl val="0"/>
      </c:catAx>
      <c:valAx>
        <c:axId val="125937152"/>
        <c:scaling>
          <c:orientation val="minMax"/>
          <c:max val="100"/>
          <c:min val="0"/>
        </c:scaling>
        <c:delete val="1"/>
        <c:axPos val="t"/>
        <c:numFmt formatCode="#,##0" sourceLinked="0"/>
        <c:majorTickMark val="out"/>
        <c:minorTickMark val="none"/>
        <c:tickLblPos val="nextTo"/>
        <c:crossAx val="125935616"/>
        <c:crosses val="autoZero"/>
        <c:crossBetween val="between"/>
        <c:majorUnit val="10"/>
        <c:minorUnit val="5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it-IT"/>
    </a:p>
  </c:txPr>
  <c:externalData r:id="rId2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0207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41597" y="0"/>
            <a:ext cx="2940207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080FE7-6BB2-41BD-8476-4E52ADEF62C0}" type="datetimeFigureOut">
              <a:rPr lang="it-IT" smtClean="0"/>
              <a:t>25/11/2014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28164"/>
            <a:ext cx="2940207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41597" y="9428164"/>
            <a:ext cx="2940207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0CFC42-A5FC-4A7F-BE59-040792774089}" type="slidenum">
              <a:rPr lang="it-IT" smtClean="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0573620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3946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 dirty="0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42353" y="0"/>
            <a:ext cx="293946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031A3C-F949-4878-9547-86B58D706A14}" type="datetimeFigureOut">
              <a:rPr lang="it-IT" smtClean="0"/>
              <a:t>25/11/2014</a:t>
            </a:fld>
            <a:endParaRPr lang="it-IT" dirty="0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11225" y="744538"/>
            <a:ext cx="4960938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 dirty="0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8339" y="4715155"/>
            <a:ext cx="542671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2" y="9428584"/>
            <a:ext cx="293946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42353" y="9428584"/>
            <a:ext cx="293946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C4CC22-896C-44F2-B08D-B77F8647D6B3}" type="slidenum">
              <a:rPr lang="it-IT" smtClean="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23453101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/>
              <a:t>1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2015346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/>
              <a:t>17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3095271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/>
              <a:t>18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3095271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>
                <a:solidFill>
                  <a:prstClr val="black"/>
                </a:solidFill>
              </a:rPr>
              <a:pPr/>
              <a:t>19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5271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algn="l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it-IT" sz="1200" b="0" i="0" u="none" strike="noStrike" kern="1200" dirty="0" smtClean="0">
                <a:solidFill>
                  <a:srgbClr val="000000"/>
                </a:solidFill>
                <a:effectLst/>
                <a:latin typeface="Century Gothic"/>
              </a:rPr>
              <a:t> - MAGGIORE PROTEZIONE SUL TERRITORIO DA PARTE DELLE FORZE DELL'ORDINE</a:t>
            </a:r>
            <a:endParaRPr lang="it-IT" sz="1200" b="0" i="0" u="none" strike="noStrike" dirty="0" smtClean="0">
              <a:effectLst/>
              <a:latin typeface="Arial"/>
            </a:endParaRPr>
          </a:p>
          <a:p>
            <a:pPr marL="0" algn="l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it-IT" sz="1200" b="0" i="0" u="none" strike="noStrike" kern="1200" dirty="0" smtClean="0">
                <a:solidFill>
                  <a:srgbClr val="000000"/>
                </a:solidFill>
                <a:effectLst/>
                <a:latin typeface="Century Gothic"/>
              </a:rPr>
              <a:t>   - CERTEZZA DELLA PENA</a:t>
            </a:r>
            <a:endParaRPr lang="it-IT" sz="1200" b="0" i="0" u="none" strike="noStrike" dirty="0" smtClean="0">
              <a:effectLst/>
              <a:latin typeface="Arial"/>
            </a:endParaRPr>
          </a:p>
          <a:p>
            <a:pPr marL="0" algn="l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it-IT" sz="1200" b="0" i="1" u="none" strike="noStrike" kern="1200" dirty="0" smtClean="0">
                <a:solidFill>
                  <a:srgbClr val="000000"/>
                </a:solidFill>
                <a:effectLst/>
                <a:latin typeface="Century Gothic"/>
              </a:rPr>
              <a:t>   - MAGGIORE COLLABORAZIONE CON LE FORZE DELL'ORDINE</a:t>
            </a:r>
            <a:endParaRPr lang="it-IT" sz="1200" b="0" i="0" u="none" strike="noStrike" dirty="0" smtClean="0">
              <a:effectLst/>
              <a:latin typeface="Arial"/>
            </a:endParaRPr>
          </a:p>
          <a:p>
            <a:pPr marL="0" algn="l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it-IT" sz="1200" b="0" i="1" u="none" strike="noStrike" kern="1200" dirty="0" smtClean="0">
                <a:solidFill>
                  <a:srgbClr val="000000"/>
                </a:solidFill>
                <a:effectLst/>
                <a:latin typeface="Century Gothic"/>
              </a:rPr>
              <a:t>   - INTERVENTI DI ENTI LOCALI PER POLIZIOTTI DI QUARTIERE/POLIZIA LOCALE</a:t>
            </a:r>
            <a:endParaRPr lang="it-IT" sz="1200" b="0" i="0" u="none" strike="noStrike" dirty="0" smtClean="0">
              <a:effectLst/>
              <a:latin typeface="Arial"/>
            </a:endParaRPr>
          </a:p>
          <a:p>
            <a:pPr marL="0" algn="l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it-IT" sz="1200" b="0" i="0" u="none" strike="noStrike" kern="1200" dirty="0" smtClean="0">
                <a:solidFill>
                  <a:srgbClr val="000000"/>
                </a:solidFill>
                <a:effectLst/>
                <a:latin typeface="Century Gothic"/>
              </a:rPr>
              <a:t>   - MAGGIORI INTERVENTI DELLE ASSOCIAZIONI DI CATEGORIA</a:t>
            </a:r>
            <a:endParaRPr lang="it-IT" sz="1200" b="0" i="0" u="none" strike="noStrike" dirty="0" smtClean="0">
              <a:effectLst/>
              <a:latin typeface="Arial"/>
            </a:endParaRPr>
          </a:p>
          <a:p>
            <a:pPr marL="0" algn="l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it-IT" sz="1200" b="0" i="0" u="none" strike="noStrike" kern="1200" dirty="0" smtClean="0">
                <a:solidFill>
                  <a:srgbClr val="000000"/>
                </a:solidFill>
                <a:effectLst/>
                <a:latin typeface="Century Gothic"/>
              </a:rPr>
              <a:t>   - ASSOCIAZIONISMO ANTIRACKET</a:t>
            </a:r>
            <a:endParaRPr lang="it-IT" sz="1200" b="0" i="0" u="none" strike="noStrike" dirty="0" smtClean="0">
              <a:effectLst/>
              <a:latin typeface="Arial"/>
            </a:endParaRPr>
          </a:p>
          <a:p>
            <a:pPr marL="0" algn="l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it-IT" sz="1200" b="0" i="0" u="none" strike="noStrike" kern="1200" dirty="0" smtClean="0">
                <a:solidFill>
                  <a:srgbClr val="000000"/>
                </a:solidFill>
                <a:effectLst/>
                <a:latin typeface="Century Gothic"/>
              </a:rPr>
              <a:t>   - MAGGIORE PROTEZIONE SUL TERRITORIO DA PARTE DELLE FORZE DELL'ORDINE</a:t>
            </a:r>
            <a:endParaRPr lang="it-IT" sz="1200" b="0" i="0" u="none" strike="noStrike" dirty="0" smtClean="0">
              <a:effectLst/>
              <a:latin typeface="Arial"/>
            </a:endParaRPr>
          </a:p>
          <a:p>
            <a:pPr marL="0" algn="l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it-IT" sz="1200" b="0" i="0" u="none" strike="noStrike" kern="1200" dirty="0" smtClean="0">
                <a:solidFill>
                  <a:srgbClr val="000000"/>
                </a:solidFill>
                <a:effectLst/>
                <a:latin typeface="Century Gothic"/>
              </a:rPr>
              <a:t>   - CERTEZZA DELLA PENA</a:t>
            </a:r>
            <a:endParaRPr lang="it-IT" sz="1200" b="0" i="0" u="none" strike="noStrike" dirty="0" smtClean="0">
              <a:effectLst/>
              <a:latin typeface="Arial"/>
            </a:endParaRPr>
          </a:p>
          <a:p>
            <a:pPr marL="0" algn="l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it-IT" sz="1200" b="0" i="1" u="none" strike="noStrike" kern="1200" dirty="0" smtClean="0">
                <a:solidFill>
                  <a:srgbClr val="000000"/>
                </a:solidFill>
                <a:effectLst/>
                <a:latin typeface="Century Gothic"/>
              </a:rPr>
              <a:t>   - MAGGIORE COLLABORAZIONE CON LE FORZE DELL'ORDINE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>
                <a:solidFill>
                  <a:prstClr val="black"/>
                </a:solidFill>
              </a:rPr>
              <a:pPr/>
              <a:t>20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52710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algn="l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it-IT" sz="1200" b="0" i="0" u="none" strike="noStrike" kern="1200" dirty="0" smtClean="0">
                <a:solidFill>
                  <a:srgbClr val="000000"/>
                </a:solidFill>
                <a:effectLst/>
                <a:latin typeface="Arial"/>
                <a:cs typeface="Arial"/>
              </a:rPr>
              <a:t>tabaccai</a:t>
            </a:r>
            <a:endParaRPr lang="it-IT" sz="1200" b="0" i="0" u="none" strike="noStrike" dirty="0" smtClean="0">
              <a:effectLst/>
              <a:latin typeface="Arial"/>
            </a:endParaRPr>
          </a:p>
          <a:p>
            <a:pPr marL="0" algn="r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it-IT" sz="1200" b="0" i="0" u="none" strike="noStrike" kern="1200" dirty="0" smtClean="0">
                <a:solidFill>
                  <a:srgbClr val="000000"/>
                </a:solidFill>
                <a:effectLst/>
                <a:latin typeface="Arial"/>
                <a:cs typeface="Arial"/>
              </a:rPr>
              <a:t>77,2</a:t>
            </a:r>
            <a:endParaRPr lang="it-IT" sz="1200" b="0" i="0" u="none" strike="noStrike" dirty="0" smtClean="0">
              <a:effectLst/>
              <a:latin typeface="Arial"/>
            </a:endParaRPr>
          </a:p>
          <a:p>
            <a:pPr marL="0" algn="l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it-IT" sz="1200" b="0" i="0" u="none" strike="noStrike" kern="1200" dirty="0" smtClean="0">
                <a:solidFill>
                  <a:srgbClr val="000000"/>
                </a:solidFill>
                <a:effectLst/>
                <a:latin typeface="Arial"/>
                <a:cs typeface="Arial"/>
              </a:rPr>
              <a:t>venditori su aree pubbliche</a:t>
            </a:r>
            <a:endParaRPr lang="it-IT" sz="1200" b="0" i="0" u="none" strike="noStrike" dirty="0" smtClean="0">
              <a:effectLst/>
              <a:latin typeface="Arial"/>
            </a:endParaRPr>
          </a:p>
          <a:p>
            <a:pPr marL="0" algn="r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it-IT" sz="1200" b="0" i="0" u="none" strike="noStrike" kern="1200" dirty="0" smtClean="0">
                <a:solidFill>
                  <a:srgbClr val="000000"/>
                </a:solidFill>
                <a:effectLst/>
                <a:latin typeface="Arial"/>
                <a:cs typeface="Arial"/>
              </a:rPr>
              <a:t>70,2</a:t>
            </a:r>
            <a:endParaRPr lang="it-IT" sz="1200" b="0" i="0" u="none" strike="noStrike" dirty="0" smtClean="0">
              <a:effectLst/>
              <a:latin typeface="Arial"/>
            </a:endParaRPr>
          </a:p>
          <a:p>
            <a:pPr marL="0" algn="l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it-IT" sz="1200" b="0" i="0" u="none" strike="noStrike" kern="1200" dirty="0" smtClean="0">
                <a:solidFill>
                  <a:srgbClr val="000000"/>
                </a:solidFill>
                <a:effectLst/>
                <a:latin typeface="Arial"/>
                <a:cs typeface="Arial"/>
              </a:rPr>
              <a:t>altro</a:t>
            </a:r>
            <a:endParaRPr lang="it-IT" sz="1200" b="0" i="0" u="none" strike="noStrike" dirty="0" smtClean="0">
              <a:effectLst/>
              <a:latin typeface="Arial"/>
            </a:endParaRPr>
          </a:p>
          <a:p>
            <a:pPr marL="0" algn="r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it-IT" sz="1200" b="0" i="0" u="none" strike="noStrike" kern="1200" dirty="0" smtClean="0">
                <a:solidFill>
                  <a:srgbClr val="000000"/>
                </a:solidFill>
                <a:effectLst/>
                <a:latin typeface="Arial"/>
                <a:cs typeface="Arial"/>
              </a:rPr>
              <a:t>62,5</a:t>
            </a:r>
            <a:endParaRPr lang="it-IT" sz="1200" b="0" i="0" u="none" strike="noStrike" dirty="0" smtClean="0">
              <a:effectLst/>
              <a:latin typeface="Arial"/>
            </a:endParaRPr>
          </a:p>
          <a:p>
            <a:pPr marL="0" algn="l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it-IT" sz="1200" b="0" i="0" u="none" strike="noStrike" kern="1200" dirty="0" smtClean="0">
                <a:solidFill>
                  <a:srgbClr val="000000"/>
                </a:solidFill>
                <a:effectLst/>
                <a:latin typeface="Arial"/>
                <a:cs typeface="Arial"/>
              </a:rPr>
              <a:t>alimentari</a:t>
            </a:r>
            <a:endParaRPr lang="it-IT" sz="1200" b="0" i="0" u="none" strike="noStrike" dirty="0" smtClean="0">
              <a:effectLst/>
              <a:latin typeface="Arial"/>
            </a:endParaRPr>
          </a:p>
          <a:p>
            <a:pPr marL="0" algn="r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it-IT" sz="1200" b="0" i="0" u="none" strike="noStrike" kern="1200" dirty="0" smtClean="0">
                <a:solidFill>
                  <a:srgbClr val="000000"/>
                </a:solidFill>
                <a:effectLst/>
                <a:latin typeface="Arial"/>
                <a:cs typeface="Arial"/>
              </a:rPr>
              <a:t>58,2</a:t>
            </a:r>
            <a:endParaRPr lang="it-IT" sz="1200" b="0" i="0" u="none" strike="noStrike" dirty="0" smtClean="0">
              <a:effectLst/>
              <a:latin typeface="Arial"/>
            </a:endParaRPr>
          </a:p>
          <a:p>
            <a:pPr marL="0" algn="l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it-IT" sz="1200" b="0" i="0" u="none" strike="noStrike" kern="1200" dirty="0" smtClean="0">
                <a:solidFill>
                  <a:srgbClr val="000000"/>
                </a:solidFill>
                <a:effectLst/>
                <a:latin typeface="Arial"/>
                <a:cs typeface="Arial"/>
              </a:rPr>
              <a:t>benzinai</a:t>
            </a:r>
            <a:endParaRPr lang="it-IT" sz="1200" b="0" i="0" u="none" strike="noStrike" dirty="0" smtClean="0">
              <a:effectLst/>
              <a:latin typeface="Arial"/>
            </a:endParaRPr>
          </a:p>
          <a:p>
            <a:pPr marL="0" algn="r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it-IT" sz="1200" b="0" i="0" u="none" strike="noStrike" kern="1200" dirty="0" smtClean="0">
                <a:solidFill>
                  <a:srgbClr val="000000"/>
                </a:solidFill>
                <a:effectLst/>
                <a:latin typeface="Arial"/>
                <a:cs typeface="Arial"/>
              </a:rPr>
              <a:t>55,9</a:t>
            </a:r>
            <a:endParaRPr lang="it-IT" sz="1200" b="0" i="0" u="none" strike="noStrike" dirty="0" smtClean="0">
              <a:effectLst/>
              <a:latin typeface="Arial"/>
            </a:endParaRPr>
          </a:p>
          <a:p>
            <a:pPr marL="0" algn="l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it-IT" sz="1200" b="0" i="0" u="none" strike="noStrike" kern="1200" dirty="0" smtClean="0">
                <a:solidFill>
                  <a:srgbClr val="000000"/>
                </a:solidFill>
                <a:effectLst/>
                <a:latin typeface="Arial"/>
                <a:cs typeface="Arial"/>
              </a:rPr>
              <a:t>totale rispondenti</a:t>
            </a:r>
            <a:endParaRPr lang="it-IT" sz="1200" b="0" i="0" u="none" strike="noStrike" dirty="0" smtClean="0">
              <a:effectLst/>
              <a:latin typeface="Arial"/>
            </a:endParaRPr>
          </a:p>
          <a:p>
            <a:pPr marL="0" algn="r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it-IT" sz="1200" b="0" i="0" u="none" strike="noStrike" kern="1200" dirty="0" smtClean="0">
                <a:solidFill>
                  <a:srgbClr val="000000"/>
                </a:solidFill>
                <a:effectLst/>
                <a:latin typeface="Arial"/>
                <a:cs typeface="Arial"/>
              </a:rPr>
              <a:t>55,8</a:t>
            </a:r>
            <a:endParaRPr lang="it-IT" sz="1200" b="0" i="0" u="none" strike="noStrike" dirty="0" smtClean="0">
              <a:effectLst/>
              <a:latin typeface="Arial"/>
            </a:endParaRPr>
          </a:p>
          <a:p>
            <a:pPr marL="0" algn="l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it-IT" sz="1200" b="0" i="0" u="none" strike="noStrike" kern="1200" dirty="0" smtClean="0">
                <a:solidFill>
                  <a:srgbClr val="000000"/>
                </a:solidFill>
                <a:effectLst/>
                <a:latin typeface="Arial"/>
                <a:cs typeface="Arial"/>
              </a:rPr>
              <a:t>pubblici esercizi</a:t>
            </a:r>
            <a:endParaRPr lang="it-IT" sz="1200" b="0" i="0" u="none" strike="noStrike" dirty="0" smtClean="0">
              <a:effectLst/>
              <a:latin typeface="Arial"/>
            </a:endParaRPr>
          </a:p>
          <a:p>
            <a:pPr marL="0" algn="r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it-IT" sz="1200" b="0" i="0" u="none" strike="noStrike" kern="1200" dirty="0" smtClean="0">
                <a:solidFill>
                  <a:srgbClr val="000000"/>
                </a:solidFill>
                <a:effectLst/>
                <a:latin typeface="Arial"/>
                <a:cs typeface="Arial"/>
              </a:rPr>
              <a:t>49,8</a:t>
            </a:r>
            <a:endParaRPr lang="it-IT" sz="1200" b="0" i="0" u="none" strike="noStrike" dirty="0" smtClean="0">
              <a:effectLst/>
              <a:latin typeface="Arial"/>
            </a:endParaRPr>
          </a:p>
          <a:p>
            <a:pPr marL="0" algn="l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it-IT" sz="1200" b="0" i="0" u="none" strike="noStrike" kern="1200" dirty="0" smtClean="0">
                <a:solidFill>
                  <a:srgbClr val="000000"/>
                </a:solidFill>
                <a:effectLst/>
                <a:latin typeface="Arial"/>
                <a:cs typeface="Arial"/>
              </a:rPr>
              <a:t>alberghi e turismo</a:t>
            </a:r>
            <a:endParaRPr lang="it-IT" sz="1200" b="0" i="0" u="none" strike="noStrike" dirty="0" smtClean="0">
              <a:effectLst/>
              <a:latin typeface="Arial"/>
            </a:endParaRPr>
          </a:p>
          <a:p>
            <a:pPr marL="0" algn="r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it-IT" sz="1200" b="0" i="0" u="none" strike="noStrike" kern="1200" dirty="0" smtClean="0">
                <a:solidFill>
                  <a:srgbClr val="000000"/>
                </a:solidFill>
                <a:effectLst/>
                <a:latin typeface="Arial"/>
                <a:cs typeface="Arial"/>
              </a:rPr>
              <a:t>34,6</a:t>
            </a:r>
            <a:endParaRPr lang="it-IT" sz="1200" b="0" i="0" u="none" strike="noStrike" dirty="0" smtClean="0">
              <a:effectLst/>
              <a:latin typeface="Arial"/>
            </a:endParaRPr>
          </a:p>
          <a:p>
            <a:pPr marL="0" algn="l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it-IT" sz="1200" b="0" i="0" u="none" strike="noStrike" kern="1200" dirty="0" smtClean="0">
                <a:solidFill>
                  <a:srgbClr val="000000"/>
                </a:solidFill>
                <a:effectLst/>
                <a:latin typeface="Arial"/>
                <a:cs typeface="Arial"/>
              </a:rPr>
              <a:t>trasporti </a:t>
            </a:r>
            <a:r>
              <a:rPr lang="it-IT" sz="1200" b="0" i="0" u="none" strike="noStrike" kern="1200" dirty="0" err="1" smtClean="0">
                <a:solidFill>
                  <a:srgbClr val="000000"/>
                </a:solidFill>
                <a:effectLst/>
                <a:latin typeface="Arial"/>
                <a:cs typeface="Arial"/>
              </a:rPr>
              <a:t>trasporti</a:t>
            </a:r>
            <a:endParaRPr lang="it-IT" sz="1200" b="0" i="0" u="none" strike="noStrike" dirty="0" smtClean="0">
              <a:effectLst/>
              <a:latin typeface="Arial"/>
            </a:endParaRPr>
          </a:p>
          <a:p>
            <a:pPr marL="0" algn="r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it-IT" sz="1200" b="0" i="0" u="none" strike="noStrike" kern="1200" dirty="0" smtClean="0">
                <a:solidFill>
                  <a:srgbClr val="000000"/>
                </a:solidFill>
                <a:effectLst/>
                <a:latin typeface="Arial"/>
                <a:cs typeface="Arial"/>
              </a:rPr>
              <a:t>30,2</a:t>
            </a:r>
            <a:endParaRPr lang="it-IT" sz="1200" b="0" i="0" u="none" strike="noStrike" dirty="0" smtClean="0">
              <a:effectLst/>
              <a:latin typeface="Arial"/>
            </a:endParaRPr>
          </a:p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/>
              <a:t>23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15611899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>
                <a:solidFill>
                  <a:prstClr val="black"/>
                </a:solidFill>
              </a:rPr>
              <a:pPr/>
              <a:t>26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52710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>
                <a:solidFill>
                  <a:prstClr val="black"/>
                </a:solidFill>
              </a:rPr>
              <a:pPr/>
              <a:t>27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52710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>
                <a:solidFill>
                  <a:prstClr val="black"/>
                </a:solidFill>
              </a:rPr>
              <a:pPr/>
              <a:t>28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52710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>
                <a:solidFill>
                  <a:prstClr val="black"/>
                </a:solidFill>
              </a:rPr>
              <a:pPr/>
              <a:t>29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52710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>
                <a:solidFill>
                  <a:prstClr val="black"/>
                </a:solidFill>
              </a:rPr>
              <a:pPr/>
              <a:t>30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5271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76338" y="820738"/>
            <a:ext cx="4430712" cy="33242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Rectangle 3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it-IT" dirty="0" smtClean="0"/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/>
              <a:t>2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50889769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>
                <a:solidFill>
                  <a:prstClr val="black"/>
                </a:solidFill>
              </a:rPr>
              <a:pPr/>
              <a:t>31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52710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>
                <a:solidFill>
                  <a:prstClr val="black"/>
                </a:solidFill>
              </a:rPr>
              <a:pPr/>
              <a:t>32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52710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>
                <a:solidFill>
                  <a:prstClr val="black"/>
                </a:solidFill>
              </a:rPr>
              <a:pPr/>
              <a:t>33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52710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>
                <a:solidFill>
                  <a:prstClr val="black"/>
                </a:solidFill>
              </a:rPr>
              <a:pPr/>
              <a:t>34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52710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>
                <a:solidFill>
                  <a:prstClr val="black"/>
                </a:solidFill>
              </a:rPr>
              <a:pPr/>
              <a:t>35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52710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>
                <a:solidFill>
                  <a:prstClr val="black"/>
                </a:solidFill>
              </a:rPr>
              <a:pPr/>
              <a:t>36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52710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>
                <a:solidFill>
                  <a:prstClr val="black"/>
                </a:solidFill>
              </a:rPr>
              <a:pPr/>
              <a:t>37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52710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>
                <a:solidFill>
                  <a:prstClr val="black"/>
                </a:solidFill>
              </a:rPr>
              <a:pPr/>
              <a:t>38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52710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>
                <a:solidFill>
                  <a:prstClr val="black"/>
                </a:solidFill>
              </a:rPr>
              <a:pPr/>
              <a:t>39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52710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>
                <a:solidFill>
                  <a:prstClr val="black"/>
                </a:solidFill>
              </a:rPr>
              <a:pPr/>
              <a:t>40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5271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/>
              <a:t>8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30952710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>
                <a:solidFill>
                  <a:prstClr val="black"/>
                </a:solidFill>
              </a:rPr>
              <a:pPr/>
              <a:t>41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52710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>
                <a:solidFill>
                  <a:prstClr val="black"/>
                </a:solidFill>
              </a:rPr>
              <a:pPr/>
              <a:t>42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52710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>
                <a:solidFill>
                  <a:prstClr val="black"/>
                </a:solidFill>
              </a:rPr>
              <a:pPr/>
              <a:t>43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52710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>
                <a:solidFill>
                  <a:prstClr val="black"/>
                </a:solidFill>
              </a:rPr>
              <a:pPr/>
              <a:t>44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52710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>
                <a:solidFill>
                  <a:prstClr val="black"/>
                </a:solidFill>
              </a:rPr>
              <a:pPr/>
              <a:t>45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52710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76338" y="820738"/>
            <a:ext cx="4430712" cy="33242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Rectangle 3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it-IT" dirty="0" smtClean="0"/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/>
              <a:t>47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5088976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/>
              <a:t>9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3095271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/>
              <a:t>10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3095271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/>
              <a:t>12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3095271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/>
              <a:t>13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3095271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/>
              <a:t>14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3095271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4CC22-896C-44F2-B08D-B77F8647D6B3}" type="slidenum">
              <a:rPr lang="it-IT" smtClean="0"/>
              <a:t>15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3095271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jpe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VCT_Marker_ID_4" hidden="1"/>
          <p:cNvSpPr/>
          <p:nvPr>
            <p:custDataLst>
              <p:tags r:id="rId1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/>
            </a:pPr>
            <a:endParaRPr lang="en-US" sz="1600" dirty="0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6" name="Gruppieren 11"/>
          <p:cNvGrpSpPr>
            <a:grpSpLocks/>
          </p:cNvGrpSpPr>
          <p:nvPr/>
        </p:nvGrpSpPr>
        <p:grpSpPr bwMode="auto">
          <a:xfrm>
            <a:off x="323850" y="-315913"/>
            <a:ext cx="8496300" cy="215900"/>
            <a:chOff x="323850" y="-531550"/>
            <a:chExt cx="8496740" cy="432060"/>
          </a:xfrm>
        </p:grpSpPr>
        <p:cxnSp>
          <p:nvCxnSpPr>
            <p:cNvPr id="7" name="Gerade Verbindung 2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23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24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26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27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28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29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30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31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32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33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34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uppieren 37"/>
          <p:cNvGrpSpPr>
            <a:grpSpLocks/>
          </p:cNvGrpSpPr>
          <p:nvPr/>
        </p:nvGrpSpPr>
        <p:grpSpPr bwMode="auto">
          <a:xfrm>
            <a:off x="323850" y="6958013"/>
            <a:ext cx="8496300" cy="215900"/>
            <a:chOff x="323850" y="-531550"/>
            <a:chExt cx="8496740" cy="432060"/>
          </a:xfrm>
        </p:grpSpPr>
        <p:cxnSp>
          <p:nvCxnSpPr>
            <p:cNvPr id="20" name="Gerade Verbindung 3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39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40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41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42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43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44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45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46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47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48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4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Gruppieren 57"/>
          <p:cNvGrpSpPr>
            <a:grpSpLocks/>
          </p:cNvGrpSpPr>
          <p:nvPr/>
        </p:nvGrpSpPr>
        <p:grpSpPr bwMode="auto">
          <a:xfrm>
            <a:off x="9251950" y="908050"/>
            <a:ext cx="217488" cy="5689600"/>
            <a:chOff x="-540710" y="908650"/>
            <a:chExt cx="432060" cy="5688790"/>
          </a:xfrm>
        </p:grpSpPr>
        <p:cxnSp>
          <p:nvCxnSpPr>
            <p:cNvPr id="33" name="Gerade Verbindung 58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61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62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79"/>
            <p:cNvCxnSpPr/>
            <p:nvPr userDrawn="1"/>
          </p:nvCxnSpPr>
          <p:spPr bwMode="gray">
            <a:xfrm>
              <a:off x="-540710" y="544507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80"/>
            <p:cNvCxnSpPr/>
            <p:nvPr userDrawn="1"/>
          </p:nvCxnSpPr>
          <p:spPr bwMode="gray">
            <a:xfrm>
              <a:off x="-540710" y="5300638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81"/>
            <p:cNvCxnSpPr/>
            <p:nvPr userDrawn="1"/>
          </p:nvCxnSpPr>
          <p:spPr bwMode="gray">
            <a:xfrm>
              <a:off x="-540710" y="436573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2"/>
            <p:cNvCxnSpPr/>
            <p:nvPr userDrawn="1"/>
          </p:nvCxnSpPr>
          <p:spPr bwMode="gray">
            <a:xfrm>
              <a:off x="-540710" y="422129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3"/>
            <p:cNvCxnSpPr/>
            <p:nvPr userDrawn="1"/>
          </p:nvCxnSpPr>
          <p:spPr bwMode="gray">
            <a:xfrm>
              <a:off x="-540710" y="328480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84"/>
            <p:cNvCxnSpPr/>
            <p:nvPr userDrawn="1"/>
          </p:nvCxnSpPr>
          <p:spPr bwMode="gray">
            <a:xfrm>
              <a:off x="-540710" y="3140357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85"/>
            <p:cNvCxnSpPr/>
            <p:nvPr userDrawn="1"/>
          </p:nvCxnSpPr>
          <p:spPr bwMode="gray">
            <a:xfrm>
              <a:off x="-540710" y="220545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86"/>
            <p:cNvCxnSpPr/>
            <p:nvPr userDrawn="1"/>
          </p:nvCxnSpPr>
          <p:spPr bwMode="gray">
            <a:xfrm>
              <a:off x="-540710" y="206101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8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Gruppieren 57"/>
          <p:cNvGrpSpPr>
            <a:grpSpLocks/>
          </p:cNvGrpSpPr>
          <p:nvPr userDrawn="1"/>
        </p:nvGrpSpPr>
        <p:grpSpPr bwMode="auto">
          <a:xfrm>
            <a:off x="-325438" y="908050"/>
            <a:ext cx="217488" cy="5689600"/>
            <a:chOff x="-540710" y="908650"/>
            <a:chExt cx="432060" cy="5688790"/>
          </a:xfrm>
        </p:grpSpPr>
        <p:cxnSp>
          <p:nvCxnSpPr>
            <p:cNvPr id="47" name="Gerade Verbindung 58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61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62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79"/>
            <p:cNvCxnSpPr/>
            <p:nvPr userDrawn="1"/>
          </p:nvCxnSpPr>
          <p:spPr bwMode="gray">
            <a:xfrm>
              <a:off x="-540710" y="544507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80"/>
            <p:cNvCxnSpPr/>
            <p:nvPr userDrawn="1"/>
          </p:nvCxnSpPr>
          <p:spPr bwMode="gray">
            <a:xfrm>
              <a:off x="-540710" y="5300638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81"/>
            <p:cNvCxnSpPr/>
            <p:nvPr userDrawn="1"/>
          </p:nvCxnSpPr>
          <p:spPr bwMode="gray">
            <a:xfrm>
              <a:off x="-540710" y="436573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82"/>
            <p:cNvCxnSpPr/>
            <p:nvPr userDrawn="1"/>
          </p:nvCxnSpPr>
          <p:spPr bwMode="gray">
            <a:xfrm>
              <a:off x="-540710" y="422129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83"/>
            <p:cNvCxnSpPr/>
            <p:nvPr userDrawn="1"/>
          </p:nvCxnSpPr>
          <p:spPr bwMode="gray">
            <a:xfrm>
              <a:off x="-540710" y="328480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84"/>
            <p:cNvCxnSpPr/>
            <p:nvPr userDrawn="1"/>
          </p:nvCxnSpPr>
          <p:spPr bwMode="gray">
            <a:xfrm>
              <a:off x="-540710" y="3140357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85"/>
            <p:cNvCxnSpPr/>
            <p:nvPr userDrawn="1"/>
          </p:nvCxnSpPr>
          <p:spPr bwMode="gray">
            <a:xfrm>
              <a:off x="-540710" y="220545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86"/>
            <p:cNvCxnSpPr/>
            <p:nvPr userDrawn="1"/>
          </p:nvCxnSpPr>
          <p:spPr bwMode="gray">
            <a:xfrm>
              <a:off x="-540710" y="206101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88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0" name="VCT_Backup_ID_27806" hidden="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323850" y="2205038"/>
            <a:ext cx="8496300" cy="1584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 Unicode MS" pitchFamily="34" charset="-128"/>
              </a:defRPr>
            </a:lvl1pPr>
            <a:lvl2pPr algn="l">
              <a:spcBef>
                <a:spcPct val="0"/>
              </a:spcBef>
              <a:defRPr>
                <a:solidFill>
                  <a:schemeClr val="tx1"/>
                </a:solidFill>
                <a:latin typeface="Arial Unicode MS" pitchFamily="34" charset="-128"/>
              </a:defRPr>
            </a:lvl2pPr>
            <a:lvl3pPr algn="l">
              <a:spcBef>
                <a:spcPct val="0"/>
              </a:spcBef>
              <a:defRPr>
                <a:solidFill>
                  <a:schemeClr val="tx1"/>
                </a:solidFill>
                <a:latin typeface="Arial Unicode MS" pitchFamily="34" charset="-128"/>
              </a:defRPr>
            </a:lvl3pPr>
            <a:lvl4pPr algn="l">
              <a:spcBef>
                <a:spcPct val="0"/>
              </a:spcBef>
              <a:defRPr>
                <a:solidFill>
                  <a:schemeClr val="tx1"/>
                </a:solidFill>
                <a:latin typeface="Arial Unicode MS" pitchFamily="34" charset="-128"/>
              </a:defRPr>
            </a:lvl4pPr>
            <a:lvl5pPr algn="l">
              <a:spcBef>
                <a:spcPct val="0"/>
              </a:spcBef>
              <a:defRPr>
                <a:solidFill>
                  <a:schemeClr val="tx1"/>
                </a:solidFill>
                <a:latin typeface="Arial Unicode MS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</a:defRPr>
            </a:lvl9pPr>
          </a:lstStyle>
          <a:p>
            <a:pPr fontAlgn="base">
              <a:spcAft>
                <a:spcPct val="0"/>
              </a:spcAft>
              <a:buFont typeface="Arial" charset="0"/>
              <a:buNone/>
              <a:defRPr/>
            </a:pPr>
            <a:r>
              <a:rPr lang="en-US" sz="3800" dirty="0">
                <a:solidFill>
                  <a:srgbClr val="000000"/>
                </a:solidFill>
                <a:latin typeface="Arial" charset="0"/>
                <a:cs typeface="Arial" charset="0"/>
              </a:rPr>
              <a:t>Click to edit Master title style</a:t>
            </a:r>
          </a:p>
        </p:txBody>
      </p:sp>
      <p:sp>
        <p:nvSpPr>
          <p:cNvPr id="61" name="VCT_Backup_ID_27807" hidden="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323850" y="3860800"/>
            <a:ext cx="8496300" cy="1439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18000" rIns="0" bIns="0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 Unicode MS" pitchFamily="34" charset="-128"/>
              </a:defRPr>
            </a:lvl1pPr>
            <a:lvl2pPr marL="1588" algn="l">
              <a:spcBef>
                <a:spcPct val="0"/>
              </a:spcBef>
              <a:defRPr>
                <a:solidFill>
                  <a:schemeClr val="tx1"/>
                </a:solidFill>
                <a:latin typeface="Arial Unicode MS" pitchFamily="34" charset="-128"/>
              </a:defRPr>
            </a:lvl2pPr>
            <a:lvl3pPr marL="3175" algn="l">
              <a:spcBef>
                <a:spcPct val="0"/>
              </a:spcBef>
              <a:defRPr>
                <a:solidFill>
                  <a:schemeClr val="tx1"/>
                </a:solidFill>
                <a:latin typeface="Arial Unicode MS" pitchFamily="34" charset="-128"/>
              </a:defRPr>
            </a:lvl3pPr>
            <a:lvl4pPr marL="4763" algn="l">
              <a:spcBef>
                <a:spcPct val="0"/>
              </a:spcBef>
              <a:defRPr>
                <a:solidFill>
                  <a:schemeClr val="tx1"/>
                </a:solidFill>
                <a:latin typeface="Arial Unicode MS" pitchFamily="34" charset="-128"/>
              </a:defRPr>
            </a:lvl4pPr>
            <a:lvl5pPr marL="6350" algn="l">
              <a:spcBef>
                <a:spcPct val="0"/>
              </a:spcBef>
              <a:defRPr>
                <a:solidFill>
                  <a:schemeClr val="tx1"/>
                </a:solidFill>
                <a:latin typeface="Arial Unicode MS" pitchFamily="34" charset="-128"/>
              </a:defRPr>
            </a:lvl5pPr>
            <a:lvl6pPr marL="4635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</a:defRPr>
            </a:lvl6pPr>
            <a:lvl7pPr marL="9207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</a:defRPr>
            </a:lvl7pPr>
            <a:lvl8pPr marL="13779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</a:defRPr>
            </a:lvl8pPr>
            <a:lvl9pPr marL="18351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</a:defRPr>
            </a:lvl9pPr>
          </a:lstStyle>
          <a:p>
            <a:pPr fontAlgn="base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/>
            </a:pPr>
            <a:r>
              <a:rPr lang="en-US" sz="2000" dirty="0">
                <a:solidFill>
                  <a:srgbClr val="000000"/>
                </a:solidFill>
                <a:latin typeface="Arial" charset="0"/>
                <a:cs typeface="Arial" charset="0"/>
              </a:rPr>
              <a:t>Click to edit Master subtitle style</a:t>
            </a:r>
          </a:p>
        </p:txBody>
      </p:sp>
      <p:pic>
        <p:nvPicPr>
          <p:cNvPr id="63" name="Picture 2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8170863" y="260350"/>
            <a:ext cx="649287" cy="64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651" name="Title Placeholder 1"/>
          <p:cNvSpPr>
            <a:spLocks noGrp="1"/>
          </p:cNvSpPr>
          <p:nvPr>
            <p:ph type="ctrTitle"/>
          </p:nvPr>
        </p:nvSpPr>
        <p:spPr>
          <a:xfrm>
            <a:off x="323850" y="2205038"/>
            <a:ext cx="8496300" cy="1584325"/>
          </a:xfrm>
        </p:spPr>
        <p:txBody>
          <a:bodyPr/>
          <a:lstStyle>
            <a:lvl1pPr>
              <a:defRPr sz="380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noProof="0" smtClean="0"/>
              <a:t>Fare clic per modificare lo stile del titolo</a:t>
            </a:r>
          </a:p>
        </p:txBody>
      </p:sp>
      <p:sp>
        <p:nvSpPr>
          <p:cNvPr id="27652" name="Text Placeholder 2"/>
          <p:cNvSpPr>
            <a:spLocks noGrp="1"/>
          </p:cNvSpPr>
          <p:nvPr>
            <p:ph type="subTitle" idx="1"/>
          </p:nvPr>
        </p:nvSpPr>
        <p:spPr>
          <a:xfrm>
            <a:off x="323850" y="3860800"/>
            <a:ext cx="8496300" cy="1439863"/>
          </a:xfrm>
        </p:spPr>
        <p:txBody>
          <a:bodyPr/>
          <a:lstStyle>
            <a:lvl1pPr>
              <a:spcBef>
                <a:spcPct val="20000"/>
              </a:spcBef>
              <a:defRPr sz="2000" smtClean="0"/>
            </a:lvl1pPr>
          </a:lstStyle>
          <a:p>
            <a:pPr lvl="0"/>
            <a:r>
              <a:rPr lang="it-IT" noProof="0" smtClean="0"/>
              <a:t>Fare clic per modificare lo stile del sottotitolo dello schema</a:t>
            </a:r>
          </a:p>
        </p:txBody>
      </p:sp>
      <p:sp>
        <p:nvSpPr>
          <p:cNvPr id="62" name="Segnaposto numero diapositiva 4"/>
          <p:cNvSpPr>
            <a:spLocks noGrp="1"/>
          </p:cNvSpPr>
          <p:nvPr>
            <p:ph type="sldNum" sz="quarter" idx="4"/>
          </p:nvPr>
        </p:nvSpPr>
        <p:spPr>
          <a:xfrm>
            <a:off x="6240305" y="6237312"/>
            <a:ext cx="2940207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0CFC42-A5FC-4A7F-BE59-040792774089}" type="slidenum">
              <a:rPr lang="it-IT" smtClean="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6236525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9"/>
          <p:cNvGrpSpPr>
            <a:grpSpLocks/>
          </p:cNvGrpSpPr>
          <p:nvPr userDrawn="1"/>
        </p:nvGrpSpPr>
        <p:grpSpPr bwMode="auto">
          <a:xfrm>
            <a:off x="-323850" y="908050"/>
            <a:ext cx="215900" cy="5689600"/>
            <a:chOff x="-540710" y="908650"/>
            <a:chExt cx="432060" cy="5688790"/>
          </a:xfrm>
        </p:grpSpPr>
        <p:cxnSp>
          <p:nvCxnSpPr>
            <p:cNvPr id="7" name="Gerade Verbindung 10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11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12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13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4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pieren 15"/>
          <p:cNvGrpSpPr>
            <a:grpSpLocks/>
          </p:cNvGrpSpPr>
          <p:nvPr userDrawn="1"/>
        </p:nvGrpSpPr>
        <p:grpSpPr bwMode="auto">
          <a:xfrm>
            <a:off x="323850" y="-315913"/>
            <a:ext cx="8496300" cy="215900"/>
            <a:chOff x="323850" y="-531550"/>
            <a:chExt cx="8496740" cy="432060"/>
          </a:xfrm>
        </p:grpSpPr>
        <p:cxnSp>
          <p:nvCxnSpPr>
            <p:cNvPr id="13" name="Gerade Verbindung 1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7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8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9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20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21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22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23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4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5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6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8"/>
          <p:cNvGrpSpPr>
            <a:grpSpLocks/>
          </p:cNvGrpSpPr>
          <p:nvPr userDrawn="1"/>
        </p:nvGrpSpPr>
        <p:grpSpPr bwMode="auto">
          <a:xfrm>
            <a:off x="323850" y="6958013"/>
            <a:ext cx="8496300" cy="215900"/>
            <a:chOff x="323850" y="-531550"/>
            <a:chExt cx="8496740" cy="432060"/>
          </a:xfrm>
        </p:grpSpPr>
        <p:cxnSp>
          <p:nvCxnSpPr>
            <p:cNvPr id="26" name="Gerade Verbindung 29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30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31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32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33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4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5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6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7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8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9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40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41"/>
          <p:cNvGrpSpPr>
            <a:grpSpLocks/>
          </p:cNvGrpSpPr>
          <p:nvPr userDrawn="1"/>
        </p:nvGrpSpPr>
        <p:grpSpPr bwMode="auto">
          <a:xfrm>
            <a:off x="9251950" y="908050"/>
            <a:ext cx="217488" cy="5689600"/>
            <a:chOff x="-540710" y="908650"/>
            <a:chExt cx="432060" cy="5688790"/>
          </a:xfrm>
        </p:grpSpPr>
        <p:cxnSp>
          <p:nvCxnSpPr>
            <p:cNvPr id="39" name="Gerade Verbindung 42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43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4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5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6"/>
            <p:cNvCxnSpPr/>
            <p:nvPr userDrawn="1"/>
          </p:nvCxnSpPr>
          <p:spPr bwMode="gray">
            <a:xfrm>
              <a:off x="-540710" y="544507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7"/>
            <p:cNvCxnSpPr/>
            <p:nvPr userDrawn="1"/>
          </p:nvCxnSpPr>
          <p:spPr bwMode="gray">
            <a:xfrm>
              <a:off x="-540710" y="5300638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8"/>
            <p:cNvCxnSpPr/>
            <p:nvPr userDrawn="1"/>
          </p:nvCxnSpPr>
          <p:spPr bwMode="gray">
            <a:xfrm>
              <a:off x="-540710" y="436573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9"/>
            <p:cNvCxnSpPr/>
            <p:nvPr userDrawn="1"/>
          </p:nvCxnSpPr>
          <p:spPr bwMode="gray">
            <a:xfrm>
              <a:off x="-540710" y="422129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50"/>
            <p:cNvCxnSpPr/>
            <p:nvPr userDrawn="1"/>
          </p:nvCxnSpPr>
          <p:spPr bwMode="gray">
            <a:xfrm>
              <a:off x="-540710" y="328480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51"/>
            <p:cNvCxnSpPr/>
            <p:nvPr userDrawn="1"/>
          </p:nvCxnSpPr>
          <p:spPr bwMode="gray">
            <a:xfrm>
              <a:off x="-540710" y="3140357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52"/>
            <p:cNvCxnSpPr/>
            <p:nvPr userDrawn="1"/>
          </p:nvCxnSpPr>
          <p:spPr bwMode="gray">
            <a:xfrm>
              <a:off x="-540710" y="220545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53"/>
            <p:cNvCxnSpPr/>
            <p:nvPr userDrawn="1"/>
          </p:nvCxnSpPr>
          <p:spPr bwMode="gray">
            <a:xfrm>
              <a:off x="-540710" y="206101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4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8" name="Picture Placeholder 67"/>
          <p:cNvSpPr>
            <a:spLocks noGrp="1"/>
          </p:cNvSpPr>
          <p:nvPr>
            <p:ph type="pic" sz="quarter" idx="12"/>
          </p:nvPr>
        </p:nvSpPr>
        <p:spPr bwMode="gray">
          <a:xfrm>
            <a:off x="323528" y="1123949"/>
            <a:ext cx="8496944" cy="5473403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67544" y="2420888"/>
            <a:ext cx="8208912" cy="1368152"/>
          </a:xfrm>
          <a:prstGeom prst="rect">
            <a:avLst/>
          </a:prstGeom>
        </p:spPr>
        <p:txBody>
          <a:bodyPr/>
          <a:lstStyle>
            <a:lvl1pPr>
              <a:defRPr sz="40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67545" y="3861048"/>
            <a:ext cx="8208913" cy="1512168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Arial" pitchFamily="34" charset="0"/>
              </a:defRPr>
            </a:lvl1pPr>
            <a:lvl2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en-US" dirty="0" smtClean="0"/>
          </a:p>
        </p:txBody>
      </p:sp>
      <p:sp>
        <p:nvSpPr>
          <p:cNvPr id="58" name="Text Placeholder 10"/>
          <p:cNvSpPr>
            <a:spLocks noGrp="1"/>
          </p:cNvSpPr>
          <p:nvPr>
            <p:ph type="body" sz="quarter" idx="10"/>
          </p:nvPr>
        </p:nvSpPr>
        <p:spPr bwMode="gray">
          <a:xfrm>
            <a:off x="467430" y="6237312"/>
            <a:ext cx="8209140" cy="216024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4" name="Segnaposto numero diapositiva 4"/>
          <p:cNvSpPr txBox="1">
            <a:spLocks/>
          </p:cNvSpPr>
          <p:nvPr userDrawn="1"/>
        </p:nvSpPr>
        <p:spPr>
          <a:xfrm>
            <a:off x="6240305" y="6237312"/>
            <a:ext cx="2940207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it-IT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20CFC42-A5FC-4A7F-BE59-040792774089}" type="slidenum">
              <a:rPr lang="it-IT" smtClean="0"/>
              <a:pPr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4891067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323528" y="1052736"/>
            <a:ext cx="8496944" cy="2611193"/>
          </a:xfrm>
        </p:spPr>
        <p:txBody>
          <a:bodyPr>
            <a:spAutoFit/>
          </a:bodyPr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  <a:lvl7pPr>
              <a:defRPr>
                <a:latin typeface="Arial" pitchFamily="34" charset="0"/>
                <a:cs typeface="Arial" pitchFamily="34" charset="0"/>
              </a:defRPr>
            </a:lvl7pPr>
            <a:lvl8pPr>
              <a:defRPr>
                <a:latin typeface="Arial" pitchFamily="34" charset="0"/>
                <a:cs typeface="Arial" pitchFamily="34" charset="0"/>
              </a:defRPr>
            </a:lvl8pPr>
            <a:lvl9pPr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it-IT" smtClean="0"/>
              <a:t>Fare clic per modificare lo stile del titolo</a:t>
            </a:r>
            <a:endParaRPr lang="en-GB" dirty="0"/>
          </a:p>
        </p:txBody>
      </p:sp>
      <p:sp>
        <p:nvSpPr>
          <p:cNvPr id="8" name="Segnaposto numero diapositiva 4"/>
          <p:cNvSpPr>
            <a:spLocks noGrp="1"/>
          </p:cNvSpPr>
          <p:nvPr>
            <p:ph type="sldNum" sz="quarter" idx="4"/>
          </p:nvPr>
        </p:nvSpPr>
        <p:spPr>
          <a:xfrm>
            <a:off x="6240305" y="6237312"/>
            <a:ext cx="2940207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0CFC42-A5FC-4A7F-BE59-040792774089}" type="slidenum">
              <a:rPr lang="it-IT" smtClean="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6700932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it-IT" noProof="0" smtClean="0"/>
              <a:t>Fare clic per modificare lo stile del titolo</a:t>
            </a:r>
            <a:endParaRPr lang="it-IT" noProof="0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4"/>
          </p:nvPr>
        </p:nvSpPr>
        <p:spPr>
          <a:xfrm>
            <a:off x="6240305" y="6237312"/>
            <a:ext cx="2940207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0CFC42-A5FC-4A7F-BE59-040792774089}" type="slidenum">
              <a:rPr lang="it-IT" smtClean="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687531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23528" y="1052736"/>
            <a:ext cx="8496944" cy="5328592"/>
          </a:xfrm>
        </p:spPr>
        <p:txBody>
          <a:bodyPr/>
          <a:lstStyle>
            <a:lvl2pPr marL="1588" indent="-1588">
              <a:spcAft>
                <a:spcPts val="0"/>
              </a:spcAft>
              <a:defRPr/>
            </a:lvl2pPr>
          </a:lstStyle>
          <a:p>
            <a:pPr lvl="0"/>
            <a:r>
              <a:rPr lang="it-IT" noProof="0" smtClean="0"/>
              <a:t>Fare clic per modificare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it-IT" noProof="0" smtClean="0"/>
              <a:t>Fare clic per modificare lo stile del titolo</a:t>
            </a:r>
            <a:endParaRPr lang="it-IT" noProof="0"/>
          </a:p>
        </p:txBody>
      </p:sp>
      <p:sp>
        <p:nvSpPr>
          <p:cNvPr id="6" name="Segnaposto numero diapositiva 4"/>
          <p:cNvSpPr>
            <a:spLocks noGrp="1"/>
          </p:cNvSpPr>
          <p:nvPr>
            <p:ph type="sldNum" sz="quarter" idx="4"/>
          </p:nvPr>
        </p:nvSpPr>
        <p:spPr>
          <a:xfrm>
            <a:off x="6240305" y="6237312"/>
            <a:ext cx="2940207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0CFC42-A5FC-4A7F-BE59-040792774089}" type="slidenum">
              <a:rPr lang="it-IT" smtClean="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2008594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 bwMode="gray">
          <a:xfrm>
            <a:off x="323528" y="3068960"/>
            <a:ext cx="1296144" cy="1944216"/>
          </a:xfrm>
        </p:spPr>
        <p:txBody>
          <a:bodyPr rtlCol="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it-IT" noProof="0" dirty="0" smtClean="0"/>
              <a:t>Fare clic sull'icona per inserire un'immagine</a:t>
            </a:r>
            <a:endParaRPr lang="it-IT" noProof="0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4644009" y="3068960"/>
            <a:ext cx="1296144" cy="1944216"/>
          </a:xfrm>
        </p:spPr>
        <p:txBody>
          <a:bodyPr rtlCol="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it-IT" noProof="0" dirty="0" smtClean="0"/>
              <a:t>Fare clic sull'icona per inserire un'immagine</a:t>
            </a:r>
            <a:endParaRPr lang="it-IT" noProof="0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/>
          </p:nvPr>
        </p:nvSpPr>
        <p:spPr bwMode="gray">
          <a:xfrm>
            <a:off x="1763689" y="4365105"/>
            <a:ext cx="2736303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9"/>
          </p:nvPr>
        </p:nvSpPr>
        <p:spPr bwMode="gray">
          <a:xfrm>
            <a:off x="1763688" y="3933057"/>
            <a:ext cx="2736304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/>
          </p:nvPr>
        </p:nvSpPr>
        <p:spPr bwMode="gray">
          <a:xfrm>
            <a:off x="1763688" y="3068951"/>
            <a:ext cx="2736304" cy="864105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6"/>
          </p:nvPr>
        </p:nvSpPr>
        <p:spPr bwMode="gray">
          <a:xfrm>
            <a:off x="1763688" y="4581128"/>
            <a:ext cx="2736304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7"/>
          </p:nvPr>
        </p:nvSpPr>
        <p:spPr bwMode="gray">
          <a:xfrm>
            <a:off x="1763767" y="4797152"/>
            <a:ext cx="2736226" cy="21501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8"/>
          </p:nvPr>
        </p:nvSpPr>
        <p:spPr bwMode="gray">
          <a:xfrm>
            <a:off x="6084168" y="4365105"/>
            <a:ext cx="2736304" cy="216023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9"/>
          </p:nvPr>
        </p:nvSpPr>
        <p:spPr bwMode="gray">
          <a:xfrm>
            <a:off x="6084168" y="3933057"/>
            <a:ext cx="2736304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0"/>
          </p:nvPr>
        </p:nvSpPr>
        <p:spPr bwMode="gray">
          <a:xfrm>
            <a:off x="6084168" y="3068961"/>
            <a:ext cx="2736304" cy="864096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1"/>
          </p:nvPr>
        </p:nvSpPr>
        <p:spPr bwMode="gray">
          <a:xfrm>
            <a:off x="6084168" y="4581128"/>
            <a:ext cx="2736304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2"/>
          </p:nvPr>
        </p:nvSpPr>
        <p:spPr bwMode="gray">
          <a:xfrm>
            <a:off x="6084168" y="4797152"/>
            <a:ext cx="2736304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it-IT" noProof="0" smtClean="0"/>
              <a:t>Fare clic per modificare lo stile del titolo</a:t>
            </a:r>
            <a:endParaRPr lang="it-IT" noProof="0"/>
          </a:p>
        </p:txBody>
      </p:sp>
      <p:sp>
        <p:nvSpPr>
          <p:cNvPr id="18" name="Segnaposto numero diapositiva 4"/>
          <p:cNvSpPr>
            <a:spLocks noGrp="1"/>
          </p:cNvSpPr>
          <p:nvPr>
            <p:ph type="sldNum" sz="quarter" idx="4"/>
          </p:nvPr>
        </p:nvSpPr>
        <p:spPr>
          <a:xfrm>
            <a:off x="6240305" y="6237312"/>
            <a:ext cx="2940207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0CFC42-A5FC-4A7F-BE59-040792774089}" type="slidenum">
              <a:rPr lang="it-IT" smtClean="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1660374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4"/>
          <p:cNvSpPr>
            <a:spLocks noGrp="1"/>
          </p:cNvSpPr>
          <p:nvPr>
            <p:ph type="pic" sz="quarter" idx="26"/>
          </p:nvPr>
        </p:nvSpPr>
        <p:spPr bwMode="gray">
          <a:xfrm>
            <a:off x="323850" y="2276818"/>
            <a:ext cx="1295400" cy="1944270"/>
          </a:xfrm>
        </p:spPr>
        <p:txBody>
          <a:bodyPr rtlCol="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it-IT" noProof="0" dirty="0" smtClean="0"/>
              <a:t>Fare clic sull'icona per inserire un'immagine</a:t>
            </a:r>
            <a:endParaRPr lang="it-IT" noProof="0" dirty="0"/>
          </a:p>
        </p:txBody>
      </p:sp>
      <p:sp>
        <p:nvSpPr>
          <p:cNvPr id="45" name="Picture Placeholder 4"/>
          <p:cNvSpPr>
            <a:spLocks noGrp="1"/>
          </p:cNvSpPr>
          <p:nvPr>
            <p:ph type="pic" sz="quarter" idx="27"/>
          </p:nvPr>
        </p:nvSpPr>
        <p:spPr bwMode="gray">
          <a:xfrm>
            <a:off x="4645025" y="2276818"/>
            <a:ext cx="1295400" cy="1944270"/>
          </a:xfrm>
        </p:spPr>
        <p:txBody>
          <a:bodyPr rtlCol="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it-IT" noProof="0" dirty="0" smtClean="0"/>
              <a:t>Fare clic sull'icona per inserire un'immagine</a:t>
            </a:r>
            <a:endParaRPr lang="it-IT" noProof="0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28"/>
          </p:nvPr>
        </p:nvSpPr>
        <p:spPr bwMode="gray">
          <a:xfrm>
            <a:off x="1763609" y="3573016"/>
            <a:ext cx="2736953" cy="216023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29"/>
          </p:nvPr>
        </p:nvSpPr>
        <p:spPr bwMode="gray">
          <a:xfrm>
            <a:off x="1763688" y="3140968"/>
            <a:ext cx="2736874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30"/>
          </p:nvPr>
        </p:nvSpPr>
        <p:spPr bwMode="gray">
          <a:xfrm>
            <a:off x="1763688" y="2276873"/>
            <a:ext cx="2736304" cy="864096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31"/>
          </p:nvPr>
        </p:nvSpPr>
        <p:spPr bwMode="gray">
          <a:xfrm>
            <a:off x="1763687" y="3789040"/>
            <a:ext cx="2736875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32"/>
          </p:nvPr>
        </p:nvSpPr>
        <p:spPr bwMode="gray">
          <a:xfrm>
            <a:off x="1763767" y="4005064"/>
            <a:ext cx="2736226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33"/>
          </p:nvPr>
        </p:nvSpPr>
        <p:spPr bwMode="gray">
          <a:xfrm>
            <a:off x="6084168" y="3573017"/>
            <a:ext cx="2736304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52" name="Text Placeholder 3"/>
          <p:cNvSpPr>
            <a:spLocks noGrp="1"/>
          </p:cNvSpPr>
          <p:nvPr>
            <p:ph type="body" sz="quarter" idx="34"/>
          </p:nvPr>
        </p:nvSpPr>
        <p:spPr bwMode="gray">
          <a:xfrm>
            <a:off x="6084168" y="3140968"/>
            <a:ext cx="2736304" cy="216765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53" name="Text Placeholder 3"/>
          <p:cNvSpPr>
            <a:spLocks noGrp="1"/>
          </p:cNvSpPr>
          <p:nvPr>
            <p:ph type="body" sz="quarter" idx="35"/>
          </p:nvPr>
        </p:nvSpPr>
        <p:spPr bwMode="gray">
          <a:xfrm>
            <a:off x="6084168" y="2276829"/>
            <a:ext cx="2736304" cy="864140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54" name="Text Placeholder 3"/>
          <p:cNvSpPr>
            <a:spLocks noGrp="1"/>
          </p:cNvSpPr>
          <p:nvPr>
            <p:ph type="body" sz="quarter" idx="36"/>
          </p:nvPr>
        </p:nvSpPr>
        <p:spPr bwMode="gray">
          <a:xfrm>
            <a:off x="6084168" y="3789040"/>
            <a:ext cx="2736304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55" name="Text Placeholder 3"/>
          <p:cNvSpPr>
            <a:spLocks noGrp="1"/>
          </p:cNvSpPr>
          <p:nvPr>
            <p:ph type="body" sz="quarter" idx="37"/>
          </p:nvPr>
        </p:nvSpPr>
        <p:spPr bwMode="gray">
          <a:xfrm>
            <a:off x="6084168" y="4005064"/>
            <a:ext cx="2736304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38"/>
          </p:nvPr>
        </p:nvSpPr>
        <p:spPr bwMode="gray">
          <a:xfrm>
            <a:off x="323528" y="4437058"/>
            <a:ext cx="1295400" cy="1944270"/>
          </a:xfrm>
        </p:spPr>
        <p:txBody>
          <a:bodyPr rtlCol="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it-IT" noProof="0" dirty="0" smtClean="0"/>
              <a:t>Fare clic sull'icona per inserire un'immagine</a:t>
            </a:r>
            <a:endParaRPr lang="it-IT" noProof="0" dirty="0"/>
          </a:p>
        </p:txBody>
      </p:sp>
      <p:sp>
        <p:nvSpPr>
          <p:cNvPr id="57" name="Picture Placeholder 4"/>
          <p:cNvSpPr>
            <a:spLocks noGrp="1"/>
          </p:cNvSpPr>
          <p:nvPr>
            <p:ph type="pic" sz="quarter" idx="39"/>
          </p:nvPr>
        </p:nvSpPr>
        <p:spPr bwMode="gray">
          <a:xfrm>
            <a:off x="4644703" y="4437058"/>
            <a:ext cx="1295400" cy="1944270"/>
          </a:xfrm>
        </p:spPr>
        <p:txBody>
          <a:bodyPr rtlCol="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it-IT" noProof="0" dirty="0" smtClean="0"/>
              <a:t>Fare clic sull'icona per inserire un'immagine</a:t>
            </a:r>
            <a:endParaRPr lang="it-IT" noProof="0" dirty="0"/>
          </a:p>
        </p:txBody>
      </p:sp>
      <p:sp>
        <p:nvSpPr>
          <p:cNvPr id="58" name="Text Placeholder 3"/>
          <p:cNvSpPr>
            <a:spLocks noGrp="1"/>
          </p:cNvSpPr>
          <p:nvPr>
            <p:ph type="body" sz="quarter" idx="40"/>
          </p:nvPr>
        </p:nvSpPr>
        <p:spPr bwMode="gray">
          <a:xfrm>
            <a:off x="1763688" y="5733733"/>
            <a:ext cx="2736874" cy="215535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59" name="Text Placeholder 3"/>
          <p:cNvSpPr>
            <a:spLocks noGrp="1"/>
          </p:cNvSpPr>
          <p:nvPr>
            <p:ph type="body" sz="quarter" idx="41"/>
          </p:nvPr>
        </p:nvSpPr>
        <p:spPr bwMode="gray">
          <a:xfrm>
            <a:off x="1763688" y="5301209"/>
            <a:ext cx="2736304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60" name="Text Placeholder 3"/>
          <p:cNvSpPr>
            <a:spLocks noGrp="1"/>
          </p:cNvSpPr>
          <p:nvPr>
            <p:ph type="body" sz="quarter" idx="42"/>
          </p:nvPr>
        </p:nvSpPr>
        <p:spPr bwMode="gray">
          <a:xfrm>
            <a:off x="1763688" y="4437059"/>
            <a:ext cx="2736304" cy="864150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61" name="Text Placeholder 3"/>
          <p:cNvSpPr>
            <a:spLocks noGrp="1"/>
          </p:cNvSpPr>
          <p:nvPr>
            <p:ph type="body" sz="quarter" idx="43"/>
          </p:nvPr>
        </p:nvSpPr>
        <p:spPr bwMode="gray">
          <a:xfrm>
            <a:off x="1763688" y="5949236"/>
            <a:ext cx="2736874" cy="215535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62" name="Text Placeholder 3"/>
          <p:cNvSpPr>
            <a:spLocks noGrp="1"/>
          </p:cNvSpPr>
          <p:nvPr>
            <p:ph type="body" sz="quarter" idx="44"/>
          </p:nvPr>
        </p:nvSpPr>
        <p:spPr bwMode="gray">
          <a:xfrm>
            <a:off x="1763688" y="6164739"/>
            <a:ext cx="2736874" cy="215535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63" name="Text Placeholder 3"/>
          <p:cNvSpPr>
            <a:spLocks noGrp="1"/>
          </p:cNvSpPr>
          <p:nvPr>
            <p:ph type="body" sz="quarter" idx="45"/>
          </p:nvPr>
        </p:nvSpPr>
        <p:spPr bwMode="gray">
          <a:xfrm>
            <a:off x="6084168" y="5733743"/>
            <a:ext cx="2736304" cy="215535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64" name="Text Placeholder 3"/>
          <p:cNvSpPr>
            <a:spLocks noGrp="1"/>
          </p:cNvSpPr>
          <p:nvPr>
            <p:ph type="body" sz="quarter" idx="46"/>
          </p:nvPr>
        </p:nvSpPr>
        <p:spPr bwMode="gray">
          <a:xfrm>
            <a:off x="6084168" y="5301209"/>
            <a:ext cx="2736304" cy="216024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65" name="Text Placeholder 3"/>
          <p:cNvSpPr>
            <a:spLocks noGrp="1"/>
          </p:cNvSpPr>
          <p:nvPr>
            <p:ph type="body" sz="quarter" idx="47"/>
          </p:nvPr>
        </p:nvSpPr>
        <p:spPr bwMode="gray">
          <a:xfrm>
            <a:off x="6084168" y="4437069"/>
            <a:ext cx="2736304" cy="864140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66" name="Text Placeholder 3"/>
          <p:cNvSpPr>
            <a:spLocks noGrp="1"/>
          </p:cNvSpPr>
          <p:nvPr>
            <p:ph type="body" sz="quarter" idx="48"/>
          </p:nvPr>
        </p:nvSpPr>
        <p:spPr bwMode="gray">
          <a:xfrm>
            <a:off x="6084168" y="5949246"/>
            <a:ext cx="2736304" cy="215535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67" name="Text Placeholder 3"/>
          <p:cNvSpPr>
            <a:spLocks noGrp="1"/>
          </p:cNvSpPr>
          <p:nvPr>
            <p:ph type="body" sz="quarter" idx="49"/>
          </p:nvPr>
        </p:nvSpPr>
        <p:spPr bwMode="gray">
          <a:xfrm>
            <a:off x="6084168" y="6164749"/>
            <a:ext cx="2736304" cy="215535"/>
          </a:xfr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it-IT" noProof="0" smtClean="0"/>
              <a:t>Fare clic per modificare lo stile del titolo</a:t>
            </a:r>
            <a:endParaRPr lang="it-IT" noProof="0"/>
          </a:p>
        </p:txBody>
      </p:sp>
      <p:sp>
        <p:nvSpPr>
          <p:cNvPr id="28" name="Segnaposto numero diapositiva 4"/>
          <p:cNvSpPr>
            <a:spLocks noGrp="1"/>
          </p:cNvSpPr>
          <p:nvPr>
            <p:ph type="sldNum" sz="quarter" idx="4"/>
          </p:nvPr>
        </p:nvSpPr>
        <p:spPr>
          <a:xfrm>
            <a:off x="6240305" y="6237312"/>
            <a:ext cx="2940207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0CFC42-A5FC-4A7F-BE59-040792774089}" type="slidenum">
              <a:rPr lang="it-IT" smtClean="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8396016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4"/>
          <p:cNvSpPr>
            <a:spLocks noGrp="1"/>
          </p:cNvSpPr>
          <p:nvPr>
            <p:ph type="sldNum" sz="quarter" idx="4"/>
          </p:nvPr>
        </p:nvSpPr>
        <p:spPr>
          <a:xfrm>
            <a:off x="6240305" y="6237312"/>
            <a:ext cx="2940207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0CFC42-A5FC-4A7F-BE59-040792774089}" type="slidenum">
              <a:rPr lang="it-IT" smtClean="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2638292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260350"/>
            <a:ext cx="6335713" cy="647700"/>
          </a:xfrm>
        </p:spPr>
        <p:txBody>
          <a:bodyPr/>
          <a:lstStyle/>
          <a:p>
            <a:r>
              <a:rPr lang="it-IT" noProof="0" smtClean="0"/>
              <a:t>Fare clic per modificare lo stile del titolo</a:t>
            </a:r>
            <a:endParaRPr lang="it-IT" noProof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3850" y="1052513"/>
            <a:ext cx="8496300" cy="5329237"/>
          </a:xfrm>
        </p:spPr>
        <p:txBody>
          <a:bodyPr/>
          <a:lstStyle>
            <a:lvl2pPr marL="1588" indent="-1588">
              <a:defRPr/>
            </a:lvl2pPr>
          </a:lstStyle>
          <a:p>
            <a:pPr lvl="0"/>
            <a:r>
              <a:rPr lang="it-IT" noProof="0" smtClean="0"/>
              <a:t>Fare clic per modificare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  <a:endParaRPr lang="it-IT" noProof="0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4"/>
          </p:nvPr>
        </p:nvSpPr>
        <p:spPr>
          <a:xfrm>
            <a:off x="6240305" y="6237312"/>
            <a:ext cx="2940207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0CFC42-A5FC-4A7F-BE59-040792774089}" type="slidenum">
              <a:rPr lang="it-IT" smtClean="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2360110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260350"/>
            <a:ext cx="6335713" cy="647700"/>
          </a:xfrm>
        </p:spPr>
        <p:txBody>
          <a:bodyPr/>
          <a:lstStyle/>
          <a:p>
            <a:r>
              <a:rPr lang="it-IT" noProof="0" smtClean="0"/>
              <a:t>Fare clic per modificare lo stile del titolo</a:t>
            </a:r>
            <a:endParaRPr lang="it-IT" noProof="0"/>
          </a:p>
        </p:txBody>
      </p:sp>
      <p:sp>
        <p:nvSpPr>
          <p:cNvPr id="5" name="Segnaposto numero diapositiva 4"/>
          <p:cNvSpPr txBox="1">
            <a:spLocks/>
          </p:cNvSpPr>
          <p:nvPr userDrawn="1"/>
        </p:nvSpPr>
        <p:spPr>
          <a:xfrm>
            <a:off x="6240305" y="6237312"/>
            <a:ext cx="2940207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it-IT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20CFC42-A5FC-4A7F-BE59-040792774089}" type="slidenum">
              <a:rPr lang="it-IT" smtClean="0"/>
              <a:pPr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1476609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it-IT" smtClean="0"/>
              <a:t>Fare clic per modificare lo stile del titolo</a:t>
            </a:r>
            <a:endParaRPr lang="en-GB" dirty="0"/>
          </a:p>
        </p:txBody>
      </p:sp>
      <p:sp>
        <p:nvSpPr>
          <p:cNvPr id="4" name="Segnaposto numero diapositiva 4"/>
          <p:cNvSpPr>
            <a:spLocks noGrp="1"/>
          </p:cNvSpPr>
          <p:nvPr>
            <p:ph type="sldNum" sz="quarter" idx="4"/>
          </p:nvPr>
        </p:nvSpPr>
        <p:spPr>
          <a:xfrm>
            <a:off x="6240305" y="6237312"/>
            <a:ext cx="2940207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0CFC42-A5FC-4A7F-BE59-040792774089}" type="slidenum">
              <a:rPr lang="it-IT" smtClean="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687049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gray">
          <a:xfrm>
            <a:off x="323850" y="260350"/>
            <a:ext cx="6335713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Titolo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 bwMode="gray">
          <a:xfrm>
            <a:off x="323850" y="1052513"/>
            <a:ext cx="8496300" cy="532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18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 smtClean="0"/>
              <a:t>Testo</a:t>
            </a:r>
          </a:p>
          <a:p>
            <a:pPr lvl="1"/>
            <a:r>
              <a:rPr lang="it-IT" dirty="0" smtClean="0"/>
              <a:t>Testo</a:t>
            </a:r>
          </a:p>
          <a:p>
            <a:pPr lvl="2"/>
            <a:r>
              <a:rPr lang="it-IT" dirty="0" smtClean="0"/>
              <a:t>Testo</a:t>
            </a:r>
          </a:p>
          <a:p>
            <a:pPr lvl="3"/>
            <a:r>
              <a:rPr lang="it-IT" dirty="0" smtClean="0"/>
              <a:t>Testo</a:t>
            </a:r>
          </a:p>
          <a:p>
            <a:pPr lvl="4"/>
            <a:r>
              <a:rPr lang="it-IT" dirty="0" smtClean="0"/>
              <a:t>Testo</a:t>
            </a:r>
          </a:p>
        </p:txBody>
      </p:sp>
      <p:sp>
        <p:nvSpPr>
          <p:cNvPr id="4" name="VCT_Marker_ID_4" hidden="1"/>
          <p:cNvSpPr/>
          <p:nvPr>
            <p:custDataLst>
              <p:tags r:id="rId14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/>
            </a:pPr>
            <a:endParaRPr lang="en-US" sz="1600" dirty="0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1030" name="Gruppieren 11"/>
          <p:cNvGrpSpPr>
            <a:grpSpLocks/>
          </p:cNvGrpSpPr>
          <p:nvPr/>
        </p:nvGrpSpPr>
        <p:grpSpPr bwMode="auto">
          <a:xfrm>
            <a:off x="323850" y="-315913"/>
            <a:ext cx="8496300" cy="215900"/>
            <a:chOff x="323850" y="-531550"/>
            <a:chExt cx="8496740" cy="432060"/>
          </a:xfrm>
        </p:grpSpPr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31" name="Gruppieren 37"/>
          <p:cNvGrpSpPr>
            <a:grpSpLocks/>
          </p:cNvGrpSpPr>
          <p:nvPr/>
        </p:nvGrpSpPr>
        <p:grpSpPr bwMode="auto">
          <a:xfrm>
            <a:off x="323850" y="6958013"/>
            <a:ext cx="8496300" cy="215900"/>
            <a:chOff x="323850" y="-531550"/>
            <a:chExt cx="8496740" cy="43206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32" name="Gruppieren 57"/>
          <p:cNvGrpSpPr>
            <a:grpSpLocks/>
          </p:cNvGrpSpPr>
          <p:nvPr/>
        </p:nvGrpSpPr>
        <p:grpSpPr bwMode="auto">
          <a:xfrm>
            <a:off x="9251950" y="908050"/>
            <a:ext cx="217488" cy="5689600"/>
            <a:chOff x="-540710" y="908650"/>
            <a:chExt cx="432060" cy="5688790"/>
          </a:xfrm>
        </p:grpSpPr>
        <p:cxnSp>
          <p:nvCxnSpPr>
            <p:cNvPr id="2" name="Gerade Verbindung 58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Gerade Verbindung 61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 Verbindung 62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79"/>
            <p:cNvCxnSpPr/>
            <p:nvPr userDrawn="1"/>
          </p:nvCxnSpPr>
          <p:spPr bwMode="gray">
            <a:xfrm>
              <a:off x="-540710" y="544507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80"/>
            <p:cNvCxnSpPr/>
            <p:nvPr userDrawn="1"/>
          </p:nvCxnSpPr>
          <p:spPr bwMode="gray">
            <a:xfrm>
              <a:off x="-540710" y="5300638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81"/>
            <p:cNvCxnSpPr/>
            <p:nvPr userDrawn="1"/>
          </p:nvCxnSpPr>
          <p:spPr bwMode="gray">
            <a:xfrm>
              <a:off x="-540710" y="436573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82"/>
            <p:cNvCxnSpPr/>
            <p:nvPr userDrawn="1"/>
          </p:nvCxnSpPr>
          <p:spPr bwMode="gray">
            <a:xfrm>
              <a:off x="-540710" y="422129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83"/>
            <p:cNvCxnSpPr/>
            <p:nvPr userDrawn="1"/>
          </p:nvCxnSpPr>
          <p:spPr bwMode="gray">
            <a:xfrm>
              <a:off x="-540710" y="328480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84"/>
            <p:cNvCxnSpPr/>
            <p:nvPr userDrawn="1"/>
          </p:nvCxnSpPr>
          <p:spPr bwMode="gray">
            <a:xfrm>
              <a:off x="-540710" y="3140357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85"/>
            <p:cNvCxnSpPr/>
            <p:nvPr userDrawn="1"/>
          </p:nvCxnSpPr>
          <p:spPr bwMode="gray">
            <a:xfrm>
              <a:off x="-540710" y="220545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86"/>
            <p:cNvCxnSpPr/>
            <p:nvPr userDrawn="1"/>
          </p:nvCxnSpPr>
          <p:spPr bwMode="gray">
            <a:xfrm>
              <a:off x="-540710" y="206101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88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33" name="Gruppieren 57"/>
          <p:cNvGrpSpPr>
            <a:grpSpLocks/>
          </p:cNvGrpSpPr>
          <p:nvPr/>
        </p:nvGrpSpPr>
        <p:grpSpPr bwMode="auto">
          <a:xfrm>
            <a:off x="-325438" y="908050"/>
            <a:ext cx="217488" cy="5689600"/>
            <a:chOff x="-540710" y="908650"/>
            <a:chExt cx="432060" cy="5688790"/>
          </a:xfrm>
        </p:grpSpPr>
        <p:cxnSp>
          <p:nvCxnSpPr>
            <p:cNvPr id="59" name="Gerade Verbindung 58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79"/>
            <p:cNvCxnSpPr/>
            <p:nvPr userDrawn="1"/>
          </p:nvCxnSpPr>
          <p:spPr bwMode="gray">
            <a:xfrm>
              <a:off x="-540710" y="544507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-540710" y="5300638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-540710" y="436573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-540710" y="422129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-540710" y="328480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-540710" y="3140357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-540710" y="220545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86"/>
            <p:cNvCxnSpPr/>
            <p:nvPr userDrawn="1"/>
          </p:nvCxnSpPr>
          <p:spPr bwMode="gray">
            <a:xfrm>
              <a:off x="-540710" y="206101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37" name="Picture 2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8170863" y="260350"/>
            <a:ext cx="649287" cy="64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" name="Segnaposto numero diapositiva 4"/>
          <p:cNvSpPr>
            <a:spLocks noGrp="1"/>
          </p:cNvSpPr>
          <p:nvPr>
            <p:ph type="sldNum" sz="quarter" idx="4"/>
          </p:nvPr>
        </p:nvSpPr>
        <p:spPr>
          <a:xfrm>
            <a:off x="6240305" y="6237312"/>
            <a:ext cx="2940207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0CFC42-A5FC-4A7F-BE59-040792774089}" type="slidenum">
              <a:rPr lang="it-IT" smtClean="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030876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Arial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defRPr kern="1200">
          <a:solidFill>
            <a:schemeClr val="tx2"/>
          </a:solidFill>
          <a:latin typeface="Arial" charset="0"/>
          <a:ea typeface="+mn-ea"/>
          <a:cs typeface="+mn-cs"/>
        </a:defRPr>
      </a:lvl1pPr>
      <a:lvl2pPr marL="1588" indent="-1588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defRPr sz="16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180975" indent="-177800" algn="l" rtl="0" eaLnBrk="1" fontAlgn="base" hangingPunct="1">
        <a:spcBef>
          <a:spcPts val="3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360363" indent="-177800" algn="l" rtl="0" eaLnBrk="1" fontAlgn="base" hangingPunct="1">
        <a:spcBef>
          <a:spcPts val="3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539750" indent="-177800" algn="l" rtl="0" eaLnBrk="1" fontAlgn="base" hangingPunct="1">
        <a:spcBef>
          <a:spcPts val="3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0" indent="0" algn="l" defTabSz="914400" rtl="0" eaLnBrk="1" latinLnBrk="0" hangingPunct="1">
        <a:spcBef>
          <a:spcPts val="600"/>
        </a:spcBef>
        <a:spcAft>
          <a:spcPts val="0"/>
        </a:spcAft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spcBef>
          <a:spcPts val="600"/>
        </a:spcBef>
        <a:spcAft>
          <a:spcPts val="0"/>
        </a:spcAft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spcBef>
          <a:spcPts val="600"/>
        </a:spcBef>
        <a:spcAft>
          <a:spcPts val="0"/>
        </a:spcAft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spcBef>
          <a:spcPts val="600"/>
        </a:spcBef>
        <a:spcAft>
          <a:spcPts val="0"/>
        </a:spcAft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jpe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wmf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4" Type="http://schemas.microsoft.com/office/2007/relationships/hdphoto" Target="../media/hdphoto1.wdp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notesSlide" Target="../notesSlides/notesSlide2.xml"/><Relationship Id="rId5" Type="http://schemas.openxmlformats.org/officeDocument/2006/relationships/tags" Target="../tags/tag10.xml"/><Relationship Id="rId10" Type="http://schemas.openxmlformats.org/officeDocument/2006/relationships/slideLayout" Target="../slideLayouts/slideLayout9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Relationship Id="rId4" Type="http://schemas.microsoft.com/office/2007/relationships/hdphoto" Target="../media/hdphoto1.wdp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0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0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0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0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0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0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0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0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0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7"/>
          <p:cNvSpPr>
            <a:spLocks noGrp="1"/>
          </p:cNvSpPr>
          <p:nvPr>
            <p:ph type="ctrTitle"/>
          </p:nvPr>
        </p:nvSpPr>
        <p:spPr>
          <a:xfrm>
            <a:off x="2267744" y="2276873"/>
            <a:ext cx="6876256" cy="2448272"/>
          </a:xfrm>
          <a:noFill/>
          <a:ln>
            <a:noFill/>
          </a:ln>
        </p:spPr>
        <p:txBody>
          <a:bodyPr lIns="360000" anchor="t"/>
          <a:lstStyle/>
          <a:p>
            <a:pPr algn="ctr"/>
            <a:r>
              <a:rPr lang="it-IT" sz="3400" b="1" dirty="0" smtClean="0">
                <a:solidFill>
                  <a:srgbClr val="FF6600"/>
                </a:solidFill>
                <a:latin typeface="Century Gothic" panose="020B0502020202020204" pitchFamily="34" charset="0"/>
              </a:rPr>
              <a:t>Indagine</a:t>
            </a:r>
            <a:br>
              <a:rPr lang="it-IT" sz="3400" b="1" dirty="0" smtClean="0">
                <a:solidFill>
                  <a:srgbClr val="FF6600"/>
                </a:solidFill>
                <a:latin typeface="Century Gothic" panose="020B0502020202020204" pitchFamily="34" charset="0"/>
              </a:rPr>
            </a:br>
            <a:r>
              <a:rPr lang="it-IT" sz="3400" b="1" dirty="0" smtClean="0">
                <a:solidFill>
                  <a:srgbClr val="FF6600"/>
                </a:solidFill>
                <a:latin typeface="Century Gothic" panose="020B0502020202020204" pitchFamily="34" charset="0"/>
              </a:rPr>
              <a:t>Confcommercio – GfK Eurisko</a:t>
            </a:r>
            <a:br>
              <a:rPr lang="it-IT" sz="3400" b="1" dirty="0" smtClean="0">
                <a:solidFill>
                  <a:srgbClr val="FF6600"/>
                </a:solidFill>
                <a:latin typeface="Century Gothic" panose="020B0502020202020204" pitchFamily="34" charset="0"/>
              </a:rPr>
            </a:br>
            <a:r>
              <a:rPr lang="it-IT" sz="3400" b="1" dirty="0" smtClean="0">
                <a:solidFill>
                  <a:srgbClr val="FF6600"/>
                </a:solidFill>
                <a:latin typeface="Century Gothic" panose="020B0502020202020204" pitchFamily="34" charset="0"/>
              </a:rPr>
              <a:t>sui fenomeni criminali</a:t>
            </a:r>
            <a:r>
              <a:rPr lang="it-IT" sz="3400" dirty="0" smtClean="0">
                <a:solidFill>
                  <a:srgbClr val="FF6600"/>
                </a:solidFill>
                <a:latin typeface="Century Gothic" panose="020B0502020202020204" pitchFamily="34" charset="0"/>
              </a:rPr>
              <a:t/>
            </a:r>
            <a:br>
              <a:rPr lang="it-IT" sz="3400" dirty="0" smtClean="0">
                <a:solidFill>
                  <a:srgbClr val="FF6600"/>
                </a:solidFill>
                <a:latin typeface="Century Gothic" panose="020B0502020202020204" pitchFamily="34" charset="0"/>
              </a:rPr>
            </a:br>
            <a:r>
              <a:rPr lang="it-IT" sz="2400" dirty="0">
                <a:solidFill>
                  <a:srgbClr val="FF6600"/>
                </a:solidFill>
                <a:latin typeface="Century Gothic" panose="020B0502020202020204" pitchFamily="34" charset="0"/>
              </a:rPr>
              <a:t/>
            </a:r>
            <a:br>
              <a:rPr lang="it-IT" sz="2400" dirty="0">
                <a:solidFill>
                  <a:srgbClr val="FF6600"/>
                </a:solidFill>
                <a:latin typeface="Century Gothic" panose="020B0502020202020204" pitchFamily="34" charset="0"/>
              </a:rPr>
            </a:br>
            <a:r>
              <a:rPr lang="it-IT" sz="2400" dirty="0">
                <a:solidFill>
                  <a:srgbClr val="FF6600"/>
                </a:solidFill>
                <a:latin typeface="Century Gothic" panose="020B0502020202020204" pitchFamily="34" charset="0"/>
              </a:rPr>
              <a:t>Roma</a:t>
            </a:r>
            <a:r>
              <a:rPr lang="it-IT" sz="2400" dirty="0" smtClean="0">
                <a:solidFill>
                  <a:srgbClr val="FF6600"/>
                </a:solidFill>
                <a:latin typeface="Century Gothic" panose="020B0502020202020204" pitchFamily="34" charset="0"/>
              </a:rPr>
              <a:t>, 26 novembre 2014</a:t>
            </a:r>
            <a:r>
              <a:rPr lang="it-IT" sz="3400" dirty="0">
                <a:solidFill>
                  <a:srgbClr val="FF6600"/>
                </a:solidFill>
                <a:latin typeface="Century Gothic" panose="020B0502020202020204" pitchFamily="34" charset="0"/>
              </a:rPr>
              <a:t/>
            </a:r>
            <a:br>
              <a:rPr lang="it-IT" sz="3400" dirty="0">
                <a:solidFill>
                  <a:srgbClr val="FF6600"/>
                </a:solidFill>
                <a:latin typeface="Century Gothic" panose="020B0502020202020204" pitchFamily="34" charset="0"/>
              </a:rPr>
            </a:br>
            <a:r>
              <a:rPr lang="it-IT" sz="3400" dirty="0" smtClean="0">
                <a:solidFill>
                  <a:srgbClr val="FF6600"/>
                </a:solidFill>
                <a:latin typeface="Century Gothic" panose="020B0502020202020204" pitchFamily="34" charset="0"/>
              </a:rPr>
              <a:t/>
            </a:r>
            <a:br>
              <a:rPr lang="it-IT" sz="3400" dirty="0" smtClean="0">
                <a:solidFill>
                  <a:srgbClr val="FF6600"/>
                </a:solidFill>
                <a:latin typeface="Century Gothic" panose="020B0502020202020204" pitchFamily="34" charset="0"/>
              </a:rPr>
            </a:br>
            <a:r>
              <a:rPr lang="it-IT" sz="3400" dirty="0">
                <a:solidFill>
                  <a:srgbClr val="FF6600"/>
                </a:solidFill>
                <a:latin typeface="Century Gothic" panose="020B0502020202020204" pitchFamily="34" charset="0"/>
              </a:rPr>
              <a:t/>
            </a:r>
            <a:br>
              <a:rPr lang="it-IT" sz="3400" dirty="0">
                <a:solidFill>
                  <a:srgbClr val="FF6600"/>
                </a:solidFill>
                <a:latin typeface="Century Gothic" panose="020B0502020202020204" pitchFamily="34" charset="0"/>
              </a:rPr>
            </a:br>
            <a:endParaRPr lang="it-IT" sz="3400" i="1" dirty="0">
              <a:solidFill>
                <a:schemeClr val="bg2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812360" y="260256"/>
            <a:ext cx="1140384" cy="1140384"/>
          </a:xfrm>
          <a:prstGeom prst="rect">
            <a:avLst/>
          </a:prstGeom>
          <a:noFill/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o 4"/>
          <p:cNvGrpSpPr/>
          <p:nvPr/>
        </p:nvGrpSpPr>
        <p:grpSpPr>
          <a:xfrm>
            <a:off x="-15334" y="-27384"/>
            <a:ext cx="2485454" cy="6912000"/>
            <a:chOff x="85818" y="-27384"/>
            <a:chExt cx="2485454" cy="6912000"/>
          </a:xfr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grpSpPr>
        <p:pic>
          <p:nvPicPr>
            <p:cNvPr id="8" name="Immagine 7"/>
            <p:cNvPicPr preferRelativeResize="0">
              <a:picLocks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272" y="-27384"/>
              <a:ext cx="2484000" cy="1130112"/>
            </a:xfrm>
            <a:prstGeom prst="rect">
              <a:avLst/>
            </a:prstGeom>
          </p:spPr>
        </p:pic>
        <p:pic>
          <p:nvPicPr>
            <p:cNvPr id="9" name="Immagine 8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272" y="4624477"/>
              <a:ext cx="2482751" cy="1158364"/>
            </a:xfrm>
            <a:prstGeom prst="rect">
              <a:avLst/>
            </a:prstGeom>
          </p:spPr>
        </p:pic>
        <p:pic>
          <p:nvPicPr>
            <p:cNvPr id="11" name="Immagine 10"/>
            <p:cNvPicPr preferRelativeResize="0">
              <a:picLocks/>
            </p:cNvPicPr>
            <p:nvPr/>
          </p:nvPicPr>
          <p:blipFill rotWithShape="1">
            <a:blip r:embed="rId6"/>
            <a:srcRect r="5847" b="12367"/>
            <a:stretch/>
          </p:blipFill>
          <p:spPr>
            <a:xfrm>
              <a:off x="87272" y="1949218"/>
              <a:ext cx="2484000" cy="1211893"/>
            </a:xfrm>
            <a:prstGeom prst="rect">
              <a:avLst/>
            </a:prstGeom>
          </p:spPr>
        </p:pic>
        <p:pic>
          <p:nvPicPr>
            <p:cNvPr id="12" name="Immagine 11"/>
            <p:cNvPicPr preferRelativeResize="0">
              <a:picLocks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7271" y="5754504"/>
              <a:ext cx="2484000" cy="1130112"/>
            </a:xfrm>
            <a:prstGeom prst="rect">
              <a:avLst/>
            </a:prstGeom>
          </p:spPr>
        </p:pic>
        <p:pic>
          <p:nvPicPr>
            <p:cNvPr id="13" name="Immagine 12"/>
            <p:cNvPicPr preferRelativeResize="0">
              <a:picLocks/>
            </p:cNvPicPr>
            <p:nvPr/>
          </p:nvPicPr>
          <p:blipFill rotWithShape="1">
            <a:blip r:embed="rId8"/>
            <a:srcRect t="7046" b="4812"/>
            <a:stretch/>
          </p:blipFill>
          <p:spPr>
            <a:xfrm>
              <a:off x="87272" y="3155261"/>
              <a:ext cx="2484000" cy="1469308"/>
            </a:xfrm>
            <a:prstGeom prst="rect">
              <a:avLst/>
            </a:prstGeom>
          </p:spPr>
        </p:pic>
        <p:pic>
          <p:nvPicPr>
            <p:cNvPr id="10" name="Immagine 9"/>
            <p:cNvPicPr preferRelativeResize="0">
              <a:picLocks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5818" y="1106488"/>
              <a:ext cx="2484000" cy="875836"/>
            </a:xfrm>
            <a:prstGeom prst="rect">
              <a:avLst/>
            </a:prstGeom>
          </p:spPr>
        </p:pic>
      </p:grp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808" y="260256"/>
            <a:ext cx="2376264" cy="102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Immagine 14"/>
          <p:cNvPicPr/>
          <p:nvPr/>
        </p:nvPicPr>
        <p:blipFill>
          <a:blip r:embed="rId11"/>
          <a:stretch>
            <a:fillRect/>
          </a:stretch>
        </p:blipFill>
        <p:spPr>
          <a:xfrm>
            <a:off x="4103948" y="5194924"/>
            <a:ext cx="2952328" cy="1007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611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/>
        </p:nvSpPr>
        <p:spPr>
          <a:xfrm>
            <a:off x="320072" y="992922"/>
            <a:ext cx="619614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000" i="1" dirty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Con riferimento alla Sua attività e al settore in cui lei opera, come valuta l’andamento dei crimini di seguito indicati negli anni della crisi economica (2008-2013</a:t>
            </a:r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)? </a:t>
            </a:r>
            <a:endParaRPr lang="it-IT" sz="1000" i="1" dirty="0">
              <a:solidFill>
                <a:schemeClr val="bg2">
                  <a:lumMod val="50000"/>
                </a:schemeClr>
              </a:solidFill>
              <a:latin typeface="Century Gothic" pitchFamily="34" charset="0"/>
            </a:endParaRPr>
          </a:p>
          <a:p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(base =totale campione, n= 5880)</a:t>
            </a:r>
          </a:p>
          <a:p>
            <a:endParaRPr lang="it-IT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2" name="Rectangle 2"/>
          <p:cNvSpPr txBox="1">
            <a:spLocks/>
          </p:cNvSpPr>
          <p:nvPr/>
        </p:nvSpPr>
        <p:spPr>
          <a:xfrm>
            <a:off x="324519" y="260648"/>
            <a:ext cx="763185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 smtClean="0"/>
              <a:t>Le percezioni della criminalità vs azienda: quali crimini sono aumentati di pi</a:t>
            </a:r>
            <a:r>
              <a:rPr lang="it-IT" dirty="0"/>
              <a:t>ù</a:t>
            </a:r>
            <a:endParaRPr lang="it-IT" dirty="0" smtClean="0"/>
          </a:p>
        </p:txBody>
      </p:sp>
      <p:sp>
        <p:nvSpPr>
          <p:cNvPr id="3" name="Rettangolo 2"/>
          <p:cNvSpPr/>
          <p:nvPr/>
        </p:nvSpPr>
        <p:spPr bwMode="gray">
          <a:xfrm>
            <a:off x="2524298" y="2004809"/>
            <a:ext cx="4063926" cy="33855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it-IT" sz="1600" i="1" dirty="0">
                <a:solidFill>
                  <a:srgbClr val="000000"/>
                </a:solidFill>
                <a:latin typeface="Century Gothic" pitchFamily="34" charset="0"/>
              </a:rPr>
              <a:t>% in aumento nel periodo 2008-2013</a:t>
            </a:r>
          </a:p>
        </p:txBody>
      </p:sp>
      <p:graphicFrame>
        <p:nvGraphicFramePr>
          <p:cNvPr id="8" name="Grafico 7"/>
          <p:cNvGraphicFramePr/>
          <p:nvPr>
            <p:extLst>
              <p:ext uri="{D42A27DB-BD31-4B8C-83A1-F6EECF244321}">
                <p14:modId xmlns:p14="http://schemas.microsoft.com/office/powerpoint/2010/main" val="2979018006"/>
              </p:ext>
            </p:extLst>
          </p:nvPr>
        </p:nvGraphicFramePr>
        <p:xfrm>
          <a:off x="2116613" y="2746203"/>
          <a:ext cx="5623739" cy="39231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Rettangolo 5"/>
          <p:cNvSpPr/>
          <p:nvPr/>
        </p:nvSpPr>
        <p:spPr bwMode="gray">
          <a:xfrm>
            <a:off x="539552" y="2132856"/>
            <a:ext cx="1584176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Ind. 2007</a:t>
            </a:r>
          </a:p>
        </p:txBody>
      </p:sp>
      <p:sp>
        <p:nvSpPr>
          <p:cNvPr id="7" name="Rettangolo 6"/>
          <p:cNvSpPr/>
          <p:nvPr/>
        </p:nvSpPr>
        <p:spPr bwMode="gray">
          <a:xfrm>
            <a:off x="1091967" y="3090994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err="1" smtClean="0">
                <a:solidFill>
                  <a:srgbClr val="E95E0F"/>
                </a:solidFill>
              </a:rPr>
              <a:t>n.d.</a:t>
            </a:r>
            <a:endParaRPr lang="it-IT" sz="1400" i="1" dirty="0" smtClean="0">
              <a:solidFill>
                <a:srgbClr val="E95E0F"/>
              </a:solidFill>
            </a:endParaRPr>
          </a:p>
        </p:txBody>
      </p:sp>
      <p:sp>
        <p:nvSpPr>
          <p:cNvPr id="9" name="Rettangolo 8"/>
          <p:cNvSpPr/>
          <p:nvPr/>
        </p:nvSpPr>
        <p:spPr bwMode="gray">
          <a:xfrm>
            <a:off x="1091967" y="3501008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err="1" smtClean="0">
                <a:solidFill>
                  <a:srgbClr val="E95E0F"/>
                </a:solidFill>
              </a:rPr>
              <a:t>n.d.</a:t>
            </a:r>
            <a:endParaRPr lang="it-IT" sz="1400" i="1" dirty="0" smtClean="0">
              <a:solidFill>
                <a:srgbClr val="E95E0F"/>
              </a:solidFill>
            </a:endParaRPr>
          </a:p>
        </p:txBody>
      </p:sp>
      <p:sp>
        <p:nvSpPr>
          <p:cNvPr id="10" name="Rettangolo 9"/>
          <p:cNvSpPr/>
          <p:nvPr/>
        </p:nvSpPr>
        <p:spPr bwMode="gray">
          <a:xfrm>
            <a:off x="1091967" y="2708920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51</a:t>
            </a:r>
          </a:p>
        </p:txBody>
      </p:sp>
      <p:sp>
        <p:nvSpPr>
          <p:cNvPr id="11" name="Rettangolo 10"/>
          <p:cNvSpPr/>
          <p:nvPr/>
        </p:nvSpPr>
        <p:spPr bwMode="gray">
          <a:xfrm>
            <a:off x="1091967" y="5113124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15</a:t>
            </a:r>
          </a:p>
        </p:txBody>
      </p:sp>
      <p:sp>
        <p:nvSpPr>
          <p:cNvPr id="13" name="Rettangolo 12"/>
          <p:cNvSpPr/>
          <p:nvPr/>
        </p:nvSpPr>
        <p:spPr bwMode="gray">
          <a:xfrm>
            <a:off x="1091967" y="4315130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16</a:t>
            </a:r>
          </a:p>
        </p:txBody>
      </p:sp>
      <p:sp>
        <p:nvSpPr>
          <p:cNvPr id="14" name="Rettangolo 13"/>
          <p:cNvSpPr/>
          <p:nvPr/>
        </p:nvSpPr>
        <p:spPr bwMode="gray">
          <a:xfrm>
            <a:off x="1091967" y="4725144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err="1" smtClean="0">
                <a:solidFill>
                  <a:srgbClr val="E95E0F"/>
                </a:solidFill>
              </a:rPr>
              <a:t>n.d.</a:t>
            </a:r>
            <a:endParaRPr lang="it-IT" sz="1400" i="1" dirty="0" smtClean="0">
              <a:solidFill>
                <a:srgbClr val="E95E0F"/>
              </a:solidFill>
            </a:endParaRPr>
          </a:p>
        </p:txBody>
      </p:sp>
      <p:sp>
        <p:nvSpPr>
          <p:cNvPr id="15" name="Rettangolo 14"/>
          <p:cNvSpPr/>
          <p:nvPr/>
        </p:nvSpPr>
        <p:spPr bwMode="gray">
          <a:xfrm>
            <a:off x="1091967" y="3933056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37</a:t>
            </a:r>
          </a:p>
        </p:txBody>
      </p:sp>
      <p:sp>
        <p:nvSpPr>
          <p:cNvPr id="17" name="Text Box 9"/>
          <p:cNvSpPr txBox="1">
            <a:spLocks noChangeArrowheads="1"/>
          </p:cNvSpPr>
          <p:nvPr/>
        </p:nvSpPr>
        <p:spPr bwMode="auto">
          <a:xfrm>
            <a:off x="4932040" y="5301208"/>
            <a:ext cx="3672408" cy="83099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wrap="square">
            <a:spAutoFit/>
          </a:bodyPr>
          <a:lstStyle>
            <a:defPPr>
              <a:defRPr lang="it-IT"/>
            </a:defPPr>
            <a:lvl1pPr algn="ctr">
              <a:defRPr sz="1600">
                <a:solidFill>
                  <a:srgbClr val="000000"/>
                </a:solidFill>
                <a:latin typeface="Century Gothic" pitchFamily="34" charset="0"/>
              </a:defRPr>
            </a:lvl1pPr>
          </a:lstStyle>
          <a:p>
            <a:pPr>
              <a:spcBef>
                <a:spcPts val="600"/>
              </a:spcBef>
            </a:pPr>
            <a:r>
              <a:rPr lang="it-IT" i="1" dirty="0" smtClean="0">
                <a:solidFill>
                  <a:srgbClr val="E95E0F"/>
                </a:solidFill>
              </a:rPr>
              <a:t>Rispetto al 2007 la percezione di peggioramento è in crescita su tutti i crimini</a:t>
            </a:r>
          </a:p>
        </p:txBody>
      </p:sp>
    </p:spTree>
    <p:extLst>
      <p:ext uri="{BB962C8B-B14F-4D97-AF65-F5344CB8AC3E}">
        <p14:creationId xmlns:p14="http://schemas.microsoft.com/office/powerpoint/2010/main" val="435900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323850" y="1988691"/>
            <a:ext cx="8496300" cy="1584325"/>
          </a:xfrm>
        </p:spPr>
        <p:txBody>
          <a:bodyPr/>
          <a:lstStyle/>
          <a:p>
            <a:r>
              <a:rPr lang="it-IT" dirty="0" smtClean="0">
                <a:latin typeface="Century Gothic" panose="020B0502020202020204" pitchFamily="34" charset="0"/>
              </a:rPr>
              <a:t>L’esperienza di criminalità</a:t>
            </a:r>
            <a:endParaRPr lang="it-IT" dirty="0">
              <a:latin typeface="Century Gothic" panose="020B0502020202020204" pitchFamily="34" charset="0"/>
            </a:endParaRPr>
          </a:p>
        </p:txBody>
      </p:sp>
      <p:grpSp>
        <p:nvGrpSpPr>
          <p:cNvPr id="4" name="Gruppo 3"/>
          <p:cNvGrpSpPr/>
          <p:nvPr/>
        </p:nvGrpSpPr>
        <p:grpSpPr>
          <a:xfrm>
            <a:off x="-18000" y="5381751"/>
            <a:ext cx="9180000" cy="1476249"/>
            <a:chOff x="-15129" y="1545126"/>
            <a:chExt cx="14893201" cy="1476249"/>
          </a:xfrm>
        </p:grpSpPr>
        <p:pic>
          <p:nvPicPr>
            <p:cNvPr id="5" name="Immagine 4"/>
            <p:cNvPicPr preferRelativeResize="0">
              <a:picLocks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15129" y="1552575"/>
              <a:ext cx="2484000" cy="1468800"/>
            </a:xfrm>
            <a:prstGeom prst="rect">
              <a:avLst/>
            </a:prstGeom>
          </p:spPr>
        </p:pic>
        <p:pic>
          <p:nvPicPr>
            <p:cNvPr id="6" name="Immagine 5"/>
            <p:cNvPicPr preferRelativeResize="0">
              <a:picLocks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11321" y="1545127"/>
              <a:ext cx="2482751" cy="1468800"/>
            </a:xfrm>
            <a:prstGeom prst="rect">
              <a:avLst/>
            </a:prstGeom>
          </p:spPr>
        </p:pic>
        <p:pic>
          <p:nvPicPr>
            <p:cNvPr id="7" name="Immagine 6"/>
            <p:cNvPicPr preferRelativeResize="0">
              <a:picLocks/>
            </p:cNvPicPr>
            <p:nvPr/>
          </p:nvPicPr>
          <p:blipFill rotWithShape="1">
            <a:blip r:embed="rId4"/>
            <a:srcRect r="5847" b="12367"/>
            <a:stretch/>
          </p:blipFill>
          <p:spPr>
            <a:xfrm>
              <a:off x="4942072" y="1545126"/>
              <a:ext cx="2484000" cy="1468800"/>
            </a:xfrm>
            <a:prstGeom prst="rect">
              <a:avLst/>
            </a:prstGeom>
          </p:spPr>
        </p:pic>
        <p:pic>
          <p:nvPicPr>
            <p:cNvPr id="8" name="Immagine 7"/>
            <p:cNvPicPr preferRelativeResize="0">
              <a:picLocks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2394072" y="1545127"/>
              <a:ext cx="2484000" cy="1468800"/>
            </a:xfrm>
            <a:prstGeom prst="rect">
              <a:avLst/>
            </a:prstGeom>
          </p:spPr>
        </p:pic>
        <p:pic>
          <p:nvPicPr>
            <p:cNvPr id="9" name="Immagine 8"/>
            <p:cNvPicPr preferRelativeResize="0">
              <a:picLocks/>
            </p:cNvPicPr>
            <p:nvPr/>
          </p:nvPicPr>
          <p:blipFill rotWithShape="1">
            <a:blip r:embed="rId6"/>
            <a:srcRect t="7046" b="4812"/>
            <a:stretch/>
          </p:blipFill>
          <p:spPr>
            <a:xfrm>
              <a:off x="7426072" y="1545127"/>
              <a:ext cx="2484000" cy="1469308"/>
            </a:xfrm>
            <a:prstGeom prst="rect">
              <a:avLst/>
            </a:prstGeom>
          </p:spPr>
        </p:pic>
        <p:pic>
          <p:nvPicPr>
            <p:cNvPr id="10" name="Immagine 9"/>
            <p:cNvPicPr preferRelativeResize="0">
              <a:picLocks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53641" y="1545127"/>
              <a:ext cx="2484000" cy="1468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11424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/>
          </p:cNvSpPr>
          <p:nvPr/>
        </p:nvSpPr>
        <p:spPr>
          <a:xfrm>
            <a:off x="324519" y="116632"/>
            <a:ext cx="763185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 smtClean="0"/>
              <a:t>L’esperienza di criminalità: le dimensioni del fenomeno</a:t>
            </a:r>
          </a:p>
        </p:txBody>
      </p:sp>
      <p:sp>
        <p:nvSpPr>
          <p:cNvPr id="3" name="Rettangolo 2"/>
          <p:cNvSpPr/>
          <p:nvPr/>
        </p:nvSpPr>
        <p:spPr bwMode="gray">
          <a:xfrm>
            <a:off x="3347864" y="1700808"/>
            <a:ext cx="1584176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600" dirty="0" smtClean="0">
                <a:solidFill>
                  <a:schemeClr val="tx1"/>
                </a:solidFill>
              </a:rPr>
              <a:t>% </a:t>
            </a:r>
          </a:p>
        </p:txBody>
      </p:sp>
      <p:sp>
        <p:nvSpPr>
          <p:cNvPr id="8" name="Rettangolo 7"/>
          <p:cNvSpPr/>
          <p:nvPr/>
        </p:nvSpPr>
        <p:spPr>
          <a:xfrm>
            <a:off x="287440" y="1140070"/>
            <a:ext cx="870637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Pensando </a:t>
            </a:r>
            <a:r>
              <a:rPr lang="it-IT" sz="1000" i="1" dirty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a persone che svolgono attività simili alla sua, Lei conosce qualcuno che abbia ricevuto minacce o intimidazioni per finalità di estorsione? Lei personalmente ha mai ricevuto minacce o intimidazioni per finalità di estorsione</a:t>
            </a:r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?</a:t>
            </a:r>
          </a:p>
          <a:p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(base = totale campione, n= 5880)</a:t>
            </a:r>
            <a:endParaRPr lang="it-IT" sz="1000" dirty="0">
              <a:solidFill>
                <a:schemeClr val="bg2">
                  <a:lumMod val="50000"/>
                </a:schemeClr>
              </a:solidFill>
            </a:endParaRPr>
          </a:p>
          <a:p>
            <a:endParaRPr lang="it-IT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5" name="Rettangolo 14"/>
          <p:cNvSpPr/>
          <p:nvPr/>
        </p:nvSpPr>
        <p:spPr bwMode="gray">
          <a:xfrm>
            <a:off x="258114" y="2564904"/>
            <a:ext cx="1584176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dirty="0" smtClean="0">
                <a:solidFill>
                  <a:srgbClr val="E95E0F"/>
                </a:solidFill>
              </a:rPr>
              <a:t>Ind. 2007</a:t>
            </a:r>
          </a:p>
        </p:txBody>
      </p:sp>
      <p:sp>
        <p:nvSpPr>
          <p:cNvPr id="16" name="Rettangolo 15"/>
          <p:cNvSpPr/>
          <p:nvPr/>
        </p:nvSpPr>
        <p:spPr bwMode="gray">
          <a:xfrm>
            <a:off x="762170" y="3501008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dirty="0" smtClean="0">
                <a:solidFill>
                  <a:srgbClr val="E95E0F"/>
                </a:solidFill>
              </a:rPr>
              <a:t>11</a:t>
            </a:r>
          </a:p>
        </p:txBody>
      </p:sp>
      <p:sp>
        <p:nvSpPr>
          <p:cNvPr id="17" name="Rettangolo 16"/>
          <p:cNvSpPr/>
          <p:nvPr/>
        </p:nvSpPr>
        <p:spPr bwMode="gray">
          <a:xfrm>
            <a:off x="762170" y="4509120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dirty="0" smtClean="0">
                <a:solidFill>
                  <a:srgbClr val="E95E0F"/>
                </a:solidFill>
              </a:rPr>
              <a:t>8</a:t>
            </a:r>
          </a:p>
        </p:txBody>
      </p:sp>
      <p:graphicFrame>
        <p:nvGraphicFramePr>
          <p:cNvPr id="18" name="Grafico 17"/>
          <p:cNvGraphicFramePr/>
          <p:nvPr>
            <p:extLst>
              <p:ext uri="{D42A27DB-BD31-4B8C-83A1-F6EECF244321}">
                <p14:modId xmlns:p14="http://schemas.microsoft.com/office/powerpoint/2010/main" val="3284745044"/>
              </p:ext>
            </p:extLst>
          </p:nvPr>
        </p:nvGraphicFramePr>
        <p:xfrm>
          <a:off x="2267744" y="2370194"/>
          <a:ext cx="5623739" cy="39231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2" name="Callout 1 21"/>
          <p:cNvSpPr/>
          <p:nvPr/>
        </p:nvSpPr>
        <p:spPr bwMode="gray">
          <a:xfrm>
            <a:off x="5652120" y="3068960"/>
            <a:ext cx="2520280" cy="663398"/>
          </a:xfrm>
          <a:prstGeom prst="borderCallout1">
            <a:avLst>
              <a:gd name="adj1" fmla="val 18750"/>
              <a:gd name="adj2" fmla="val -8333"/>
              <a:gd name="adj3" fmla="val 97185"/>
              <a:gd name="adj4" fmla="val -44014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600" dirty="0" smtClean="0">
                <a:solidFill>
                  <a:schemeClr val="tx1"/>
                </a:solidFill>
              </a:rPr>
              <a:t>1 persona= 7%</a:t>
            </a:r>
          </a:p>
          <a:p>
            <a:pPr algn="ctr"/>
            <a:r>
              <a:rPr lang="it-IT" sz="1600" dirty="0" smtClean="0">
                <a:solidFill>
                  <a:schemeClr val="tx1"/>
                </a:solidFill>
              </a:rPr>
              <a:t>Più persone=4%</a:t>
            </a:r>
          </a:p>
        </p:txBody>
      </p:sp>
      <p:sp>
        <p:nvSpPr>
          <p:cNvPr id="24" name="Callout 1 23"/>
          <p:cNvSpPr/>
          <p:nvPr/>
        </p:nvSpPr>
        <p:spPr bwMode="gray">
          <a:xfrm>
            <a:off x="5885212" y="4509120"/>
            <a:ext cx="2331864" cy="663398"/>
          </a:xfrm>
          <a:prstGeom prst="borderCallout1">
            <a:avLst>
              <a:gd name="adj1" fmla="val 18750"/>
              <a:gd name="adj2" fmla="val -8333"/>
              <a:gd name="adj3" fmla="val 38112"/>
              <a:gd name="adj4" fmla="val -61149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600" dirty="0" smtClean="0">
                <a:solidFill>
                  <a:schemeClr val="tx1"/>
                </a:solidFill>
              </a:rPr>
              <a:t>1 volta = 3%</a:t>
            </a:r>
          </a:p>
          <a:p>
            <a:pPr algn="ctr"/>
            <a:r>
              <a:rPr lang="it-IT" sz="1600" dirty="0" smtClean="0">
                <a:solidFill>
                  <a:schemeClr val="tx1"/>
                </a:solidFill>
              </a:rPr>
              <a:t>Più volte=5%</a:t>
            </a:r>
          </a:p>
        </p:txBody>
      </p:sp>
      <p:sp>
        <p:nvSpPr>
          <p:cNvPr id="13" name="Text Box 9"/>
          <p:cNvSpPr txBox="1">
            <a:spLocks noChangeArrowheads="1"/>
          </p:cNvSpPr>
          <p:nvPr/>
        </p:nvSpPr>
        <p:spPr bwMode="auto">
          <a:xfrm>
            <a:off x="783984" y="5661248"/>
            <a:ext cx="5544616" cy="58477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wrap="square">
            <a:spAutoFit/>
          </a:bodyPr>
          <a:lstStyle>
            <a:defPPr>
              <a:defRPr lang="it-IT"/>
            </a:defPPr>
            <a:lvl1pPr algn="ctr">
              <a:defRPr sz="1600">
                <a:solidFill>
                  <a:srgbClr val="000000"/>
                </a:solidFill>
                <a:latin typeface="Century Gothic" pitchFamily="34" charset="0"/>
              </a:defRPr>
            </a:lvl1pPr>
          </a:lstStyle>
          <a:p>
            <a:r>
              <a:rPr lang="it-IT" i="1" dirty="0" smtClean="0">
                <a:solidFill>
                  <a:srgbClr val="E95E0F"/>
                </a:solidFill>
              </a:rPr>
              <a:t>I livelli di criminalità contro le aziende sono stabili rispetto al 2007</a:t>
            </a:r>
          </a:p>
        </p:txBody>
      </p:sp>
    </p:spTree>
    <p:extLst>
      <p:ext uri="{BB962C8B-B14F-4D97-AF65-F5344CB8AC3E}">
        <p14:creationId xmlns:p14="http://schemas.microsoft.com/office/powerpoint/2010/main" val="2589677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/>
          </p:cNvSpPr>
          <p:nvPr/>
        </p:nvSpPr>
        <p:spPr>
          <a:xfrm>
            <a:off x="324519" y="260648"/>
            <a:ext cx="763185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 smtClean="0"/>
              <a:t>L’esperienza della criminalità INDIRETTA e/o DIRETTA: </a:t>
            </a:r>
          </a:p>
          <a:p>
            <a:r>
              <a:rPr lang="it-IT" dirty="0" smtClean="0"/>
              <a:t>analisi per aree e settori</a:t>
            </a:r>
          </a:p>
        </p:txBody>
      </p:sp>
      <p:sp>
        <p:nvSpPr>
          <p:cNvPr id="18" name="Rettangolo 17"/>
          <p:cNvSpPr/>
          <p:nvPr/>
        </p:nvSpPr>
        <p:spPr bwMode="gray">
          <a:xfrm>
            <a:off x="2033972" y="1196752"/>
            <a:ext cx="4968552" cy="504056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600" dirty="0" smtClean="0">
                <a:solidFill>
                  <a:schemeClr val="tx1"/>
                </a:solidFill>
              </a:rPr>
              <a:t>% dichiara ESPERIENZA INDIRETTA e/o DIRETTA</a:t>
            </a:r>
          </a:p>
        </p:txBody>
      </p:sp>
      <p:graphicFrame>
        <p:nvGraphicFramePr>
          <p:cNvPr id="19" name="Tabella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3950458"/>
              </p:ext>
            </p:extLst>
          </p:nvPr>
        </p:nvGraphicFramePr>
        <p:xfrm>
          <a:off x="382847" y="2420888"/>
          <a:ext cx="3330650" cy="20402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1109"/>
                <a:gridCol w="759541"/>
              </a:tblGrid>
              <a:tr h="40804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d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e Isol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0804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 Italia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40804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entro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40804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rd Ovest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40804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rd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Est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23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32181">
            <a:off x="2904738" y="2218503"/>
            <a:ext cx="882093" cy="795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4" name="Tabella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4002883"/>
              </p:ext>
            </p:extLst>
          </p:nvPr>
        </p:nvGraphicFramePr>
        <p:xfrm>
          <a:off x="5273798" y="2420888"/>
          <a:ext cx="3330650" cy="384380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1109"/>
                <a:gridCol w="759541"/>
              </a:tblGrid>
              <a:tr h="427089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baccai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27089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bblici esercizi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27089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ditori su aree pubbliche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27089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imentari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27089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sng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 Italia</a:t>
                      </a:r>
                      <a:endParaRPr lang="it-IT" sz="1400" b="0" i="0" u="sng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sng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it-IT" sz="1400" b="0" i="0" u="sng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427089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nzinai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427089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tro settore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427089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sporti 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427089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berghi e turismo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" name="Tabel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2540427"/>
              </p:ext>
            </p:extLst>
          </p:nvPr>
        </p:nvGraphicFramePr>
        <p:xfrm>
          <a:off x="382847" y="5085184"/>
          <a:ext cx="3330650" cy="12241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1109"/>
                <a:gridCol w="759541"/>
              </a:tblGrid>
              <a:tr h="40804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andi centri centro sud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0804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 Italia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40804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andi centri centro nord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11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32181">
            <a:off x="2904738" y="4882799"/>
            <a:ext cx="882093" cy="795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ttangolo 12"/>
          <p:cNvSpPr/>
          <p:nvPr/>
        </p:nvSpPr>
        <p:spPr bwMode="gray">
          <a:xfrm>
            <a:off x="0" y="1772816"/>
            <a:ext cx="4067944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600" i="1" dirty="0" smtClean="0">
                <a:solidFill>
                  <a:srgbClr val="E95E0F"/>
                </a:solidFill>
              </a:rPr>
              <a:t>area geografica</a:t>
            </a:r>
          </a:p>
        </p:txBody>
      </p:sp>
      <p:sp>
        <p:nvSpPr>
          <p:cNvPr id="14" name="Rettangolo 13"/>
          <p:cNvSpPr/>
          <p:nvPr/>
        </p:nvSpPr>
        <p:spPr bwMode="gray">
          <a:xfrm>
            <a:off x="4968552" y="1778256"/>
            <a:ext cx="4067944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600" i="1" dirty="0" smtClean="0">
                <a:solidFill>
                  <a:srgbClr val="E95E0F"/>
                </a:solidFill>
              </a:rPr>
              <a:t>settore</a:t>
            </a:r>
          </a:p>
        </p:txBody>
      </p:sp>
      <p:sp>
        <p:nvSpPr>
          <p:cNvPr id="15" name="Rettangolo 14"/>
          <p:cNvSpPr/>
          <p:nvPr/>
        </p:nvSpPr>
        <p:spPr bwMode="gray">
          <a:xfrm>
            <a:off x="0" y="4545124"/>
            <a:ext cx="4067944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600" i="1" dirty="0" smtClean="0">
                <a:solidFill>
                  <a:srgbClr val="E95E0F"/>
                </a:solidFill>
              </a:rPr>
              <a:t>area urbana</a:t>
            </a:r>
          </a:p>
        </p:txBody>
      </p:sp>
      <p:sp>
        <p:nvSpPr>
          <p:cNvPr id="16" name="Rettangolo 15"/>
          <p:cNvSpPr/>
          <p:nvPr/>
        </p:nvSpPr>
        <p:spPr>
          <a:xfrm>
            <a:off x="293491" y="908720"/>
            <a:ext cx="233429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000" i="1" dirty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(base = totale campione, n= </a:t>
            </a:r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5880)</a:t>
            </a:r>
            <a:endParaRPr lang="it-IT" sz="1000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490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/>
          </p:cNvSpPr>
          <p:nvPr/>
        </p:nvSpPr>
        <p:spPr>
          <a:xfrm>
            <a:off x="323528" y="116632"/>
            <a:ext cx="763185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 smtClean="0"/>
              <a:t>Gli AUTORI delle minacce e delle intimidazioni</a:t>
            </a:r>
          </a:p>
        </p:txBody>
      </p:sp>
      <p:sp>
        <p:nvSpPr>
          <p:cNvPr id="9" name="Rettangolo 8"/>
          <p:cNvSpPr/>
          <p:nvPr/>
        </p:nvSpPr>
        <p:spPr>
          <a:xfrm>
            <a:off x="251520" y="908348"/>
            <a:ext cx="619614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000" i="1" dirty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Da chi ha ricevuto minacce o </a:t>
            </a:r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intimidazioni?</a:t>
            </a:r>
          </a:p>
          <a:p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(base= ha ricevuto minacce, n=434)</a:t>
            </a:r>
            <a:endParaRPr lang="it-IT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1" name="Text Box 8"/>
          <p:cNvSpPr txBox="1">
            <a:spLocks noChangeArrowheads="1"/>
          </p:cNvSpPr>
          <p:nvPr/>
        </p:nvSpPr>
        <p:spPr bwMode="auto">
          <a:xfrm>
            <a:off x="5005098" y="2012588"/>
            <a:ext cx="358775" cy="212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ctr">
            <a:spAutoFit/>
          </a:bodyPr>
          <a:lstStyle/>
          <a:p>
            <a:pPr algn="ctr">
              <a:defRPr/>
            </a:pPr>
            <a:r>
              <a:rPr lang="it-IT" sz="1400" i="1" dirty="0">
                <a:effectLst>
                  <a:outerShdw blurRad="38100" dist="38100" dir="2700000" algn="tl">
                    <a:srgbClr val="FFFFFF"/>
                  </a:outerShdw>
                </a:effectLst>
                <a:cs typeface="Arial" charset="0"/>
              </a:rPr>
              <a:t>%</a:t>
            </a:r>
          </a:p>
        </p:txBody>
      </p:sp>
      <p:sp>
        <p:nvSpPr>
          <p:cNvPr id="13" name="Text Box 9"/>
          <p:cNvSpPr txBox="1">
            <a:spLocks noChangeArrowheads="1"/>
          </p:cNvSpPr>
          <p:nvPr/>
        </p:nvSpPr>
        <p:spPr bwMode="auto">
          <a:xfrm>
            <a:off x="3481131" y="1708200"/>
            <a:ext cx="3406708" cy="24622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txBody>
          <a:bodyPr wrap="square">
            <a:spAutoFit/>
          </a:bodyPr>
          <a:lstStyle>
            <a:defPPr>
              <a:defRPr lang="it-IT"/>
            </a:defPPr>
            <a:lvl1pPr algn="ctr">
              <a:defRPr sz="1600">
                <a:solidFill>
                  <a:srgbClr val="000000"/>
                </a:solidFill>
                <a:latin typeface="Century Gothic" pitchFamily="34" charset="0"/>
              </a:defRPr>
            </a:lvl1pPr>
          </a:lstStyle>
          <a:p>
            <a:r>
              <a:rPr lang="it-IT" sz="1000" i="1" dirty="0" smtClean="0"/>
              <a:t>(possibili più risposte)</a:t>
            </a:r>
            <a:endParaRPr lang="it-IT" sz="1000" i="1" dirty="0"/>
          </a:p>
        </p:txBody>
      </p:sp>
      <p:graphicFrame>
        <p:nvGraphicFramePr>
          <p:cNvPr id="15" name="Grafico 14"/>
          <p:cNvGraphicFramePr/>
          <p:nvPr>
            <p:extLst>
              <p:ext uri="{D42A27DB-BD31-4B8C-83A1-F6EECF244321}">
                <p14:modId xmlns:p14="http://schemas.microsoft.com/office/powerpoint/2010/main" val="1637966298"/>
              </p:ext>
            </p:extLst>
          </p:nvPr>
        </p:nvGraphicFramePr>
        <p:xfrm>
          <a:off x="3635896" y="2537571"/>
          <a:ext cx="5623739" cy="39231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6" name="Tabella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0209520"/>
              </p:ext>
            </p:extLst>
          </p:nvPr>
        </p:nvGraphicFramePr>
        <p:xfrm>
          <a:off x="2202851" y="2521194"/>
          <a:ext cx="2448272" cy="31683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8272"/>
              </a:tblGrid>
              <a:tr h="528059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DELINQUENTI COMUNI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28059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CRIMINALITÀ ORGANIZZATA </a:t>
                      </a:r>
                      <a:endParaRPr lang="it-IT" sz="1100" b="0" i="1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28059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… </a:t>
                      </a:r>
                      <a:r>
                        <a:rPr lang="it-IT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piccola</a:t>
                      </a:r>
                      <a:r>
                        <a:rPr lang="it-IT" sz="110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criminalità </a:t>
                      </a:r>
                      <a:r>
                        <a:rPr lang="it-IT" sz="1100" b="0" i="1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organizz</a:t>
                      </a:r>
                      <a:endParaRPr lang="it-IT" sz="1100" b="0" i="1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28059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... grande criminalità </a:t>
                      </a:r>
                      <a:r>
                        <a:rPr lang="it-IT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organizz</a:t>
                      </a:r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.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28059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  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28059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NON</a:t>
                      </a:r>
                      <a:r>
                        <a:rPr lang="it-IT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SO/ NON RISPONDE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2" name="Rettangolo 21"/>
          <p:cNvSpPr/>
          <p:nvPr/>
        </p:nvSpPr>
        <p:spPr bwMode="gray">
          <a:xfrm>
            <a:off x="395536" y="1760560"/>
            <a:ext cx="1584176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Ind. 2007</a:t>
            </a:r>
          </a:p>
        </p:txBody>
      </p:sp>
      <p:sp>
        <p:nvSpPr>
          <p:cNvPr id="23" name="Rettangolo 22"/>
          <p:cNvSpPr/>
          <p:nvPr/>
        </p:nvSpPr>
        <p:spPr bwMode="gray">
          <a:xfrm>
            <a:off x="899592" y="2525947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52</a:t>
            </a:r>
          </a:p>
        </p:txBody>
      </p:sp>
      <p:sp>
        <p:nvSpPr>
          <p:cNvPr id="25" name="Rettangolo 24"/>
          <p:cNvSpPr/>
          <p:nvPr/>
        </p:nvSpPr>
        <p:spPr bwMode="gray">
          <a:xfrm>
            <a:off x="899592" y="2990244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22</a:t>
            </a:r>
          </a:p>
        </p:txBody>
      </p:sp>
      <p:sp>
        <p:nvSpPr>
          <p:cNvPr id="26" name="Rettangolo 25"/>
          <p:cNvSpPr/>
          <p:nvPr/>
        </p:nvSpPr>
        <p:spPr bwMode="gray">
          <a:xfrm>
            <a:off x="899592" y="5157192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37</a:t>
            </a:r>
          </a:p>
        </p:txBody>
      </p:sp>
      <p:sp>
        <p:nvSpPr>
          <p:cNvPr id="27" name="Text Box 9"/>
          <p:cNvSpPr txBox="1">
            <a:spLocks noChangeArrowheads="1"/>
          </p:cNvSpPr>
          <p:nvPr/>
        </p:nvSpPr>
        <p:spPr bwMode="auto">
          <a:xfrm>
            <a:off x="1403648" y="5775626"/>
            <a:ext cx="6480720" cy="58477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wrap="square">
            <a:spAutoFit/>
          </a:bodyPr>
          <a:lstStyle>
            <a:defPPr>
              <a:defRPr lang="it-IT"/>
            </a:defPPr>
            <a:lvl1pPr algn="ctr">
              <a:defRPr sz="1600">
                <a:solidFill>
                  <a:srgbClr val="000000"/>
                </a:solidFill>
                <a:latin typeface="Century Gothic" pitchFamily="34" charset="0"/>
              </a:defRPr>
            </a:lvl1pPr>
          </a:lstStyle>
          <a:p>
            <a:r>
              <a:rPr lang="it-IT" i="1" dirty="0" smtClean="0">
                <a:solidFill>
                  <a:srgbClr val="E95E0F"/>
                </a:solidFill>
              </a:rPr>
              <a:t>Risulta in diminuzione rispetto al passato  la quota di chi ritiene di avere a che fare con delinquenti comuni </a:t>
            </a:r>
          </a:p>
        </p:txBody>
      </p:sp>
      <p:sp>
        <p:nvSpPr>
          <p:cNvPr id="14" name="Rettangolo 13"/>
          <p:cNvSpPr/>
          <p:nvPr/>
        </p:nvSpPr>
        <p:spPr bwMode="gray">
          <a:xfrm>
            <a:off x="899592" y="3573016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err="1" smtClean="0">
                <a:solidFill>
                  <a:srgbClr val="E95E0F"/>
                </a:solidFill>
              </a:rPr>
              <a:t>n.d.</a:t>
            </a:r>
            <a:endParaRPr lang="it-IT" sz="1400" i="1" dirty="0" smtClean="0">
              <a:solidFill>
                <a:srgbClr val="E95E0F"/>
              </a:solidFill>
            </a:endParaRPr>
          </a:p>
        </p:txBody>
      </p:sp>
      <p:sp>
        <p:nvSpPr>
          <p:cNvPr id="17" name="Rettangolo 16"/>
          <p:cNvSpPr/>
          <p:nvPr/>
        </p:nvSpPr>
        <p:spPr bwMode="gray">
          <a:xfrm>
            <a:off x="899592" y="4077072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err="1" smtClean="0">
                <a:solidFill>
                  <a:srgbClr val="E95E0F"/>
                </a:solidFill>
              </a:rPr>
              <a:t>n.d.</a:t>
            </a:r>
            <a:endParaRPr lang="it-IT" sz="1400" i="1" dirty="0" smtClean="0">
              <a:solidFill>
                <a:srgbClr val="E95E0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6153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/>
          </p:cNvSpPr>
          <p:nvPr/>
        </p:nvSpPr>
        <p:spPr>
          <a:xfrm>
            <a:off x="324519" y="117004"/>
            <a:ext cx="763185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 smtClean="0"/>
              <a:t>La NATURA delle minacce e delle intimidazioni ricevute </a:t>
            </a:r>
          </a:p>
        </p:txBody>
      </p:sp>
      <p:sp>
        <p:nvSpPr>
          <p:cNvPr id="9" name="Rettangolo 8"/>
          <p:cNvSpPr/>
          <p:nvPr/>
        </p:nvSpPr>
        <p:spPr>
          <a:xfrm>
            <a:off x="248064" y="908348"/>
            <a:ext cx="619614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Che genere </a:t>
            </a:r>
            <a:r>
              <a:rPr lang="it-IT" sz="1000" i="1" dirty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di minacce o  intimidazioni ha </a:t>
            </a:r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ricevuto; </a:t>
            </a:r>
          </a:p>
          <a:p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(base= ha ricevuto minacce, n=434)</a:t>
            </a:r>
            <a:endParaRPr lang="it-IT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graphicFrame>
        <p:nvGraphicFramePr>
          <p:cNvPr id="17" name="Grafico 16"/>
          <p:cNvGraphicFramePr/>
          <p:nvPr>
            <p:extLst>
              <p:ext uri="{D42A27DB-BD31-4B8C-83A1-F6EECF244321}">
                <p14:modId xmlns:p14="http://schemas.microsoft.com/office/powerpoint/2010/main" val="3387284956"/>
              </p:ext>
            </p:extLst>
          </p:nvPr>
        </p:nvGraphicFramePr>
        <p:xfrm>
          <a:off x="2548661" y="2611478"/>
          <a:ext cx="5623739" cy="39231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Tabella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86420"/>
              </p:ext>
            </p:extLst>
          </p:nvPr>
        </p:nvGraphicFramePr>
        <p:xfrm>
          <a:off x="1157931" y="2628968"/>
          <a:ext cx="2448272" cy="36004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8272"/>
              </a:tblGrid>
              <a:tr h="514343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PRESSIONI PSICOLOGICHE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14343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…tramite telefonata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14343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… tramite visita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14343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  DANNEGGIAMENTO A COSE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14343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  VIOLENZA ALLE PERSONE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14343">
                <a:tc>
                  <a:txBody>
                    <a:bodyPr/>
                    <a:lstStyle/>
                    <a:p>
                      <a:pPr algn="r" fontAlgn="b"/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14343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NON</a:t>
                      </a:r>
                      <a:r>
                        <a:rPr lang="it-IT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RISPONDE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9" name="Text Box 8"/>
          <p:cNvSpPr txBox="1">
            <a:spLocks noChangeArrowheads="1"/>
          </p:cNvSpPr>
          <p:nvPr/>
        </p:nvSpPr>
        <p:spPr bwMode="auto">
          <a:xfrm>
            <a:off x="4144634" y="2352179"/>
            <a:ext cx="358775" cy="212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ctr">
            <a:spAutoFit/>
          </a:bodyPr>
          <a:lstStyle/>
          <a:p>
            <a:pPr algn="ctr">
              <a:defRPr/>
            </a:pPr>
            <a:r>
              <a:rPr lang="it-IT" sz="1400" i="1" dirty="0">
                <a:effectLst>
                  <a:outerShdw blurRad="38100" dist="38100" dir="2700000" algn="tl">
                    <a:srgbClr val="FFFFFF"/>
                  </a:outerShdw>
                </a:effectLst>
                <a:cs typeface="Arial" charset="0"/>
              </a:rPr>
              <a:t>%</a:t>
            </a:r>
          </a:p>
        </p:txBody>
      </p:sp>
      <p:sp>
        <p:nvSpPr>
          <p:cNvPr id="20" name="Text Box 9"/>
          <p:cNvSpPr txBox="1">
            <a:spLocks noChangeArrowheads="1"/>
          </p:cNvSpPr>
          <p:nvPr/>
        </p:nvSpPr>
        <p:spPr bwMode="auto">
          <a:xfrm>
            <a:off x="2638532" y="1945586"/>
            <a:ext cx="3406708" cy="24622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txBody>
          <a:bodyPr wrap="square">
            <a:spAutoFit/>
          </a:bodyPr>
          <a:lstStyle>
            <a:defPPr>
              <a:defRPr lang="it-IT"/>
            </a:defPPr>
            <a:lvl1pPr algn="ctr">
              <a:defRPr sz="1600">
                <a:solidFill>
                  <a:srgbClr val="000000"/>
                </a:solidFill>
                <a:latin typeface="Century Gothic" pitchFamily="34" charset="0"/>
              </a:defRPr>
            </a:lvl1pPr>
          </a:lstStyle>
          <a:p>
            <a:r>
              <a:rPr lang="it-IT" sz="1000" i="1" dirty="0" smtClean="0"/>
              <a:t>(possibili più risposte)</a:t>
            </a:r>
            <a:endParaRPr lang="it-IT" sz="1000" i="1" dirty="0"/>
          </a:p>
        </p:txBody>
      </p:sp>
      <p:sp>
        <p:nvSpPr>
          <p:cNvPr id="11" name="Rettangolo 10"/>
          <p:cNvSpPr/>
          <p:nvPr/>
        </p:nvSpPr>
        <p:spPr bwMode="gray">
          <a:xfrm>
            <a:off x="5796136" y="1124744"/>
            <a:ext cx="2664295" cy="504056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600" dirty="0" smtClean="0">
                <a:solidFill>
                  <a:schemeClr val="tx1"/>
                </a:solidFill>
              </a:rPr>
              <a:t>Autore minaccia</a:t>
            </a:r>
          </a:p>
        </p:txBody>
      </p:sp>
      <p:sp>
        <p:nvSpPr>
          <p:cNvPr id="13" name="Rettangolo 12"/>
          <p:cNvSpPr/>
          <p:nvPr/>
        </p:nvSpPr>
        <p:spPr bwMode="gray">
          <a:xfrm>
            <a:off x="5796137" y="1660255"/>
            <a:ext cx="1332146" cy="504056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err="1" smtClean="0">
                <a:solidFill>
                  <a:schemeClr val="tx1"/>
                </a:solidFill>
              </a:rPr>
              <a:t>Crim</a:t>
            </a:r>
            <a:r>
              <a:rPr lang="it-IT" sz="1400" i="1" dirty="0" smtClean="0">
                <a:solidFill>
                  <a:schemeClr val="tx1"/>
                </a:solidFill>
              </a:rPr>
              <a:t>. Organizzata</a:t>
            </a:r>
          </a:p>
        </p:txBody>
      </p:sp>
      <p:sp>
        <p:nvSpPr>
          <p:cNvPr id="14" name="Rettangolo 13"/>
          <p:cNvSpPr/>
          <p:nvPr/>
        </p:nvSpPr>
        <p:spPr bwMode="gray">
          <a:xfrm>
            <a:off x="7128283" y="1660255"/>
            <a:ext cx="1332148" cy="504056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err="1" smtClean="0">
                <a:solidFill>
                  <a:schemeClr val="tx1"/>
                </a:solidFill>
              </a:rPr>
              <a:t>Crim</a:t>
            </a:r>
            <a:r>
              <a:rPr lang="it-IT" sz="1400" i="1" dirty="0" smtClean="0">
                <a:solidFill>
                  <a:schemeClr val="tx1"/>
                </a:solidFill>
              </a:rPr>
              <a:t>. </a:t>
            </a:r>
          </a:p>
          <a:p>
            <a:pPr algn="ctr"/>
            <a:r>
              <a:rPr lang="it-IT" sz="1400" i="1" dirty="0" smtClean="0">
                <a:solidFill>
                  <a:schemeClr val="tx1"/>
                </a:solidFill>
              </a:rPr>
              <a:t>comune</a:t>
            </a:r>
          </a:p>
        </p:txBody>
      </p:sp>
      <p:graphicFrame>
        <p:nvGraphicFramePr>
          <p:cNvPr id="15" name="Tabella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3511930"/>
              </p:ext>
            </p:extLst>
          </p:nvPr>
        </p:nvGraphicFramePr>
        <p:xfrm>
          <a:off x="5868144" y="2628968"/>
          <a:ext cx="2448272" cy="36004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4136"/>
                <a:gridCol w="1224136"/>
              </a:tblGrid>
              <a:tr h="514343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81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55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14343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45</a:t>
                      </a:r>
                      <a:endParaRPr lang="it-IT" sz="1400" b="0" i="1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1</a:t>
                      </a:r>
                      <a:endParaRPr lang="it-IT" sz="1400" b="0" i="1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14343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55</a:t>
                      </a:r>
                      <a:endParaRPr lang="it-IT" sz="1400" b="0" i="1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9</a:t>
                      </a:r>
                      <a:endParaRPr lang="it-IT" sz="1400" b="0" i="1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14343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1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46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14343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0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0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14343">
                <a:tc>
                  <a:txBody>
                    <a:bodyPr/>
                    <a:lstStyle/>
                    <a:p>
                      <a:pPr algn="ctr" fontAlgn="b"/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14343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4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21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951255">
            <a:off x="6049350" y="2487664"/>
            <a:ext cx="882093" cy="1798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951255">
            <a:off x="7289779" y="4066548"/>
            <a:ext cx="882093" cy="6536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Rettangolo 22"/>
          <p:cNvSpPr/>
          <p:nvPr/>
        </p:nvSpPr>
        <p:spPr bwMode="gray">
          <a:xfrm>
            <a:off x="395536" y="1916832"/>
            <a:ext cx="1584176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Ind. 2007</a:t>
            </a:r>
          </a:p>
        </p:txBody>
      </p:sp>
      <p:sp>
        <p:nvSpPr>
          <p:cNvPr id="25" name="Rettangolo 24"/>
          <p:cNvSpPr/>
          <p:nvPr/>
        </p:nvSpPr>
        <p:spPr bwMode="gray">
          <a:xfrm>
            <a:off x="899592" y="2614878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73</a:t>
            </a:r>
          </a:p>
        </p:txBody>
      </p:sp>
      <p:sp>
        <p:nvSpPr>
          <p:cNvPr id="29" name="Rettangolo 28"/>
          <p:cNvSpPr/>
          <p:nvPr/>
        </p:nvSpPr>
        <p:spPr bwMode="gray">
          <a:xfrm>
            <a:off x="899592" y="4708221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14</a:t>
            </a:r>
          </a:p>
        </p:txBody>
      </p:sp>
      <p:sp>
        <p:nvSpPr>
          <p:cNvPr id="30" name="Rettangolo 29"/>
          <p:cNvSpPr/>
          <p:nvPr/>
        </p:nvSpPr>
        <p:spPr bwMode="gray">
          <a:xfrm>
            <a:off x="899592" y="3140968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err="1" smtClean="0">
                <a:solidFill>
                  <a:srgbClr val="E95E0F"/>
                </a:solidFill>
              </a:rPr>
              <a:t>n.d.</a:t>
            </a:r>
            <a:endParaRPr lang="it-IT" sz="1400" i="1" dirty="0" smtClean="0">
              <a:solidFill>
                <a:srgbClr val="E95E0F"/>
              </a:solidFill>
            </a:endParaRPr>
          </a:p>
        </p:txBody>
      </p:sp>
      <p:sp>
        <p:nvSpPr>
          <p:cNvPr id="31" name="Rettangolo 30"/>
          <p:cNvSpPr/>
          <p:nvPr/>
        </p:nvSpPr>
        <p:spPr bwMode="gray">
          <a:xfrm>
            <a:off x="899592" y="4166003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35</a:t>
            </a:r>
          </a:p>
        </p:txBody>
      </p:sp>
      <p:sp>
        <p:nvSpPr>
          <p:cNvPr id="32" name="Rettangolo 31"/>
          <p:cNvSpPr/>
          <p:nvPr/>
        </p:nvSpPr>
        <p:spPr bwMode="gray">
          <a:xfrm>
            <a:off x="954545" y="5716333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2</a:t>
            </a:r>
          </a:p>
        </p:txBody>
      </p:sp>
      <p:sp>
        <p:nvSpPr>
          <p:cNvPr id="33" name="Rettangolo 32"/>
          <p:cNvSpPr/>
          <p:nvPr/>
        </p:nvSpPr>
        <p:spPr bwMode="gray">
          <a:xfrm>
            <a:off x="899592" y="3645024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err="1" smtClean="0">
                <a:solidFill>
                  <a:srgbClr val="E95E0F"/>
                </a:solidFill>
              </a:rPr>
              <a:t>n.d.</a:t>
            </a:r>
            <a:endParaRPr lang="it-IT" sz="1400" i="1" dirty="0" smtClean="0">
              <a:solidFill>
                <a:srgbClr val="E95E0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72917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323850" y="1988691"/>
            <a:ext cx="8496300" cy="1584325"/>
          </a:xfrm>
        </p:spPr>
        <p:txBody>
          <a:bodyPr/>
          <a:lstStyle/>
          <a:p>
            <a:r>
              <a:rPr lang="it-IT" dirty="0" smtClean="0">
                <a:latin typeface="Century Gothic" panose="020B0502020202020204" pitchFamily="34" charset="0"/>
              </a:rPr>
              <a:t>Le risposte alle richieste estorsive</a:t>
            </a:r>
            <a:endParaRPr lang="it-IT" dirty="0">
              <a:latin typeface="Century Gothic" panose="020B0502020202020204" pitchFamily="34" charset="0"/>
            </a:endParaRPr>
          </a:p>
        </p:txBody>
      </p:sp>
      <p:grpSp>
        <p:nvGrpSpPr>
          <p:cNvPr id="4" name="Gruppo 3"/>
          <p:cNvGrpSpPr/>
          <p:nvPr/>
        </p:nvGrpSpPr>
        <p:grpSpPr>
          <a:xfrm>
            <a:off x="-18000" y="5381751"/>
            <a:ext cx="9180000" cy="1476249"/>
            <a:chOff x="-15129" y="1545126"/>
            <a:chExt cx="14893201" cy="1476249"/>
          </a:xfrm>
        </p:grpSpPr>
        <p:pic>
          <p:nvPicPr>
            <p:cNvPr id="5" name="Immagine 4"/>
            <p:cNvPicPr preferRelativeResize="0">
              <a:picLocks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15129" y="1552575"/>
              <a:ext cx="2484000" cy="1468800"/>
            </a:xfrm>
            <a:prstGeom prst="rect">
              <a:avLst/>
            </a:prstGeom>
          </p:spPr>
        </p:pic>
        <p:pic>
          <p:nvPicPr>
            <p:cNvPr id="6" name="Immagine 5"/>
            <p:cNvPicPr preferRelativeResize="0">
              <a:picLocks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11321" y="1545127"/>
              <a:ext cx="2482751" cy="1468800"/>
            </a:xfrm>
            <a:prstGeom prst="rect">
              <a:avLst/>
            </a:prstGeom>
          </p:spPr>
        </p:pic>
        <p:pic>
          <p:nvPicPr>
            <p:cNvPr id="7" name="Immagine 6"/>
            <p:cNvPicPr preferRelativeResize="0">
              <a:picLocks/>
            </p:cNvPicPr>
            <p:nvPr/>
          </p:nvPicPr>
          <p:blipFill rotWithShape="1">
            <a:blip r:embed="rId4"/>
            <a:srcRect r="5847" b="12367"/>
            <a:stretch/>
          </p:blipFill>
          <p:spPr>
            <a:xfrm>
              <a:off x="4942072" y="1545126"/>
              <a:ext cx="2484000" cy="1468800"/>
            </a:xfrm>
            <a:prstGeom prst="rect">
              <a:avLst/>
            </a:prstGeom>
          </p:spPr>
        </p:pic>
        <p:pic>
          <p:nvPicPr>
            <p:cNvPr id="8" name="Immagine 7"/>
            <p:cNvPicPr preferRelativeResize="0">
              <a:picLocks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2394072" y="1545127"/>
              <a:ext cx="2484000" cy="1468800"/>
            </a:xfrm>
            <a:prstGeom prst="rect">
              <a:avLst/>
            </a:prstGeom>
          </p:spPr>
        </p:pic>
        <p:pic>
          <p:nvPicPr>
            <p:cNvPr id="9" name="Immagine 8"/>
            <p:cNvPicPr preferRelativeResize="0">
              <a:picLocks/>
            </p:cNvPicPr>
            <p:nvPr/>
          </p:nvPicPr>
          <p:blipFill rotWithShape="1">
            <a:blip r:embed="rId6"/>
            <a:srcRect t="7046" b="4812"/>
            <a:stretch/>
          </p:blipFill>
          <p:spPr>
            <a:xfrm>
              <a:off x="7426072" y="1545127"/>
              <a:ext cx="2484000" cy="1469308"/>
            </a:xfrm>
            <a:prstGeom prst="rect">
              <a:avLst/>
            </a:prstGeom>
          </p:spPr>
        </p:pic>
        <p:pic>
          <p:nvPicPr>
            <p:cNvPr id="10" name="Immagine 9"/>
            <p:cNvPicPr preferRelativeResize="0">
              <a:picLocks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53641" y="1545127"/>
              <a:ext cx="2484000" cy="1468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09124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/>
          </p:cNvSpPr>
          <p:nvPr/>
        </p:nvSpPr>
        <p:spPr>
          <a:xfrm>
            <a:off x="323528" y="117004"/>
            <a:ext cx="763185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 smtClean="0"/>
              <a:t>La RISPOSTA alla richiesta estorsiva</a:t>
            </a:r>
          </a:p>
        </p:txBody>
      </p:sp>
      <p:sp>
        <p:nvSpPr>
          <p:cNvPr id="9" name="Rettangolo 8"/>
          <p:cNvSpPr/>
          <p:nvPr/>
        </p:nvSpPr>
        <p:spPr>
          <a:xfrm>
            <a:off x="248064" y="908348"/>
            <a:ext cx="619614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000" i="1" dirty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Come ha reagito alla richiesta estorsiva?; </a:t>
            </a:r>
            <a:endParaRPr lang="it-IT" sz="1000" i="1" dirty="0" smtClean="0">
              <a:solidFill>
                <a:schemeClr val="bg2">
                  <a:lumMod val="50000"/>
                </a:schemeClr>
              </a:solidFill>
              <a:latin typeface="Century Gothic" pitchFamily="34" charset="0"/>
            </a:endParaRPr>
          </a:p>
          <a:p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(base= ha ricevuto minacce, n=434)</a:t>
            </a:r>
            <a:endParaRPr lang="it-IT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graphicFrame>
        <p:nvGraphicFramePr>
          <p:cNvPr id="17" name="Grafico 16"/>
          <p:cNvGraphicFramePr/>
          <p:nvPr>
            <p:extLst>
              <p:ext uri="{D42A27DB-BD31-4B8C-83A1-F6EECF244321}">
                <p14:modId xmlns:p14="http://schemas.microsoft.com/office/powerpoint/2010/main" val="2923397969"/>
              </p:ext>
            </p:extLst>
          </p:nvPr>
        </p:nvGraphicFramePr>
        <p:xfrm>
          <a:off x="2548661" y="2611478"/>
          <a:ext cx="5623739" cy="39231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Tabella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1896956"/>
              </p:ext>
            </p:extLst>
          </p:nvPr>
        </p:nvGraphicFramePr>
        <p:xfrm>
          <a:off x="1157931" y="2628968"/>
          <a:ext cx="2448272" cy="36803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8272"/>
              </a:tblGrid>
              <a:tr h="613392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HA</a:t>
                      </a:r>
                      <a:r>
                        <a:rPr lang="it-IT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RESPINTO LE RICHIESTE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13392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  <a:ea typeface="+mn-ea"/>
                          <a:cs typeface="+mn-cs"/>
                        </a:rPr>
                        <a:t>HA ACCETTATO</a:t>
                      </a:r>
                      <a:endParaRPr lang="it-IT" sz="1100" b="0" i="0" u="none" strike="noStrike" kern="1200" baseline="0" dirty="0">
                        <a:solidFill>
                          <a:srgbClr val="000000"/>
                        </a:solidFill>
                        <a:effectLst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13392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Century Gothic"/>
                          <a:ea typeface="+mn-ea"/>
                          <a:cs typeface="+mn-cs"/>
                        </a:rPr>
                        <a:t>… </a:t>
                      </a:r>
                      <a:r>
                        <a:rPr lang="it-IT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  <a:ea typeface="+mn-ea"/>
                          <a:cs typeface="+mn-cs"/>
                        </a:rPr>
                        <a:t>subito</a:t>
                      </a:r>
                      <a:endParaRPr lang="it-IT" sz="1100" b="0" i="0" u="none" strike="noStrike" kern="1200" baseline="0" dirty="0">
                        <a:solidFill>
                          <a:srgbClr val="000000"/>
                        </a:solidFill>
                        <a:effectLst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13392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  <a:ea typeface="+mn-ea"/>
                          <a:cs typeface="+mn-cs"/>
                        </a:rPr>
                        <a:t>.. dopo diverse intimidazioni</a:t>
                      </a:r>
                      <a:endParaRPr lang="it-IT" sz="1100" b="0" i="0" u="none" strike="noStrike" kern="1200" baseline="0" dirty="0">
                        <a:solidFill>
                          <a:srgbClr val="000000"/>
                        </a:solidFill>
                        <a:effectLst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13392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  <a:ea typeface="+mn-ea"/>
                          <a:cs typeface="+mn-cs"/>
                        </a:rPr>
                        <a:t>   </a:t>
                      </a:r>
                      <a:endParaRPr lang="it-IT" sz="1100" b="0" i="0" u="none" strike="noStrike" kern="1200" baseline="0" dirty="0">
                        <a:solidFill>
                          <a:srgbClr val="000000"/>
                        </a:solidFill>
                        <a:effectLst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13392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  <a:ea typeface="+mn-ea"/>
                          <a:cs typeface="+mn-cs"/>
                        </a:rPr>
                        <a:t>NON RISPONDE</a:t>
                      </a:r>
                    </a:p>
                    <a:p>
                      <a:pPr algn="r" fontAlgn="b"/>
                      <a:endParaRPr lang="it-IT" sz="1100" b="0" i="0" u="none" strike="noStrike" kern="1200" baseline="0" dirty="0">
                        <a:solidFill>
                          <a:srgbClr val="000000"/>
                        </a:solidFill>
                        <a:effectLst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9" name="Text Box 8"/>
          <p:cNvSpPr txBox="1">
            <a:spLocks noChangeArrowheads="1"/>
          </p:cNvSpPr>
          <p:nvPr/>
        </p:nvSpPr>
        <p:spPr bwMode="auto">
          <a:xfrm>
            <a:off x="4144634" y="2352179"/>
            <a:ext cx="358775" cy="212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ctr">
            <a:spAutoFit/>
          </a:bodyPr>
          <a:lstStyle/>
          <a:p>
            <a:pPr algn="ctr">
              <a:defRPr/>
            </a:pPr>
            <a:r>
              <a:rPr lang="it-IT" sz="1400" i="1" dirty="0">
                <a:effectLst>
                  <a:outerShdw blurRad="38100" dist="38100" dir="2700000" algn="tl">
                    <a:srgbClr val="FFFFFF"/>
                  </a:outerShdw>
                </a:effectLst>
                <a:cs typeface="Arial" charset="0"/>
              </a:rPr>
              <a:t>%</a:t>
            </a:r>
          </a:p>
        </p:txBody>
      </p:sp>
      <p:sp>
        <p:nvSpPr>
          <p:cNvPr id="11" name="Rettangolo 10"/>
          <p:cNvSpPr/>
          <p:nvPr/>
        </p:nvSpPr>
        <p:spPr bwMode="gray">
          <a:xfrm>
            <a:off x="5796136" y="1052736"/>
            <a:ext cx="2664295" cy="504056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600" dirty="0" smtClean="0">
                <a:solidFill>
                  <a:schemeClr val="tx1"/>
                </a:solidFill>
              </a:rPr>
              <a:t>Autore minaccia</a:t>
            </a:r>
          </a:p>
        </p:txBody>
      </p:sp>
      <p:sp>
        <p:nvSpPr>
          <p:cNvPr id="13" name="Rettangolo 12"/>
          <p:cNvSpPr/>
          <p:nvPr/>
        </p:nvSpPr>
        <p:spPr bwMode="gray">
          <a:xfrm>
            <a:off x="5796137" y="1588247"/>
            <a:ext cx="1332146" cy="504056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err="1" smtClean="0">
                <a:solidFill>
                  <a:schemeClr val="tx1"/>
                </a:solidFill>
              </a:rPr>
              <a:t>Crim</a:t>
            </a:r>
            <a:r>
              <a:rPr lang="it-IT" sz="1400" i="1" dirty="0" smtClean="0">
                <a:solidFill>
                  <a:schemeClr val="tx1"/>
                </a:solidFill>
              </a:rPr>
              <a:t>. Organizzata</a:t>
            </a:r>
          </a:p>
        </p:txBody>
      </p:sp>
      <p:sp>
        <p:nvSpPr>
          <p:cNvPr id="14" name="Rettangolo 13"/>
          <p:cNvSpPr/>
          <p:nvPr/>
        </p:nvSpPr>
        <p:spPr bwMode="gray">
          <a:xfrm>
            <a:off x="7128283" y="1588247"/>
            <a:ext cx="1332148" cy="504056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err="1" smtClean="0">
                <a:solidFill>
                  <a:schemeClr val="tx1"/>
                </a:solidFill>
              </a:rPr>
              <a:t>Crim</a:t>
            </a:r>
            <a:r>
              <a:rPr lang="it-IT" sz="1400" i="1" dirty="0" smtClean="0">
                <a:solidFill>
                  <a:schemeClr val="tx1"/>
                </a:solidFill>
              </a:rPr>
              <a:t>. </a:t>
            </a:r>
          </a:p>
          <a:p>
            <a:pPr algn="ctr"/>
            <a:r>
              <a:rPr lang="it-IT" sz="1400" i="1" dirty="0" smtClean="0">
                <a:solidFill>
                  <a:schemeClr val="tx1"/>
                </a:solidFill>
              </a:rPr>
              <a:t>comune</a:t>
            </a:r>
          </a:p>
        </p:txBody>
      </p:sp>
      <p:graphicFrame>
        <p:nvGraphicFramePr>
          <p:cNvPr id="15" name="Tabella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6705519"/>
              </p:ext>
            </p:extLst>
          </p:nvPr>
        </p:nvGraphicFramePr>
        <p:xfrm>
          <a:off x="5868144" y="2628968"/>
          <a:ext cx="2448272" cy="35736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4136"/>
                <a:gridCol w="1224136"/>
              </a:tblGrid>
              <a:tr h="613392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59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68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13392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9</a:t>
                      </a:r>
                      <a:endParaRPr lang="it-IT" sz="1400" b="0" i="1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3</a:t>
                      </a:r>
                      <a:endParaRPr lang="it-IT" sz="1400" b="0" i="1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13392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4</a:t>
                      </a:r>
                      <a:endParaRPr lang="it-IT" sz="1400" b="0" i="1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5</a:t>
                      </a:r>
                      <a:endParaRPr lang="it-IT" sz="1400" b="0" i="1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13392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5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8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06704">
                <a:tc>
                  <a:txBody>
                    <a:bodyPr/>
                    <a:lstStyle/>
                    <a:p>
                      <a:pPr algn="ctr" fontAlgn="b"/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13392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9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21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951255">
            <a:off x="6161875" y="3176224"/>
            <a:ext cx="647436" cy="7749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ttangolo 25"/>
          <p:cNvSpPr/>
          <p:nvPr/>
        </p:nvSpPr>
        <p:spPr bwMode="gray">
          <a:xfrm>
            <a:off x="107504" y="1916832"/>
            <a:ext cx="1584176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Ind. 2007</a:t>
            </a:r>
          </a:p>
        </p:txBody>
      </p:sp>
      <p:sp>
        <p:nvSpPr>
          <p:cNvPr id="27" name="Rettangolo 26"/>
          <p:cNvSpPr/>
          <p:nvPr/>
        </p:nvSpPr>
        <p:spPr bwMode="gray">
          <a:xfrm>
            <a:off x="611560" y="2636912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73</a:t>
            </a:r>
          </a:p>
        </p:txBody>
      </p:sp>
      <p:sp>
        <p:nvSpPr>
          <p:cNvPr id="28" name="Rettangolo 27"/>
          <p:cNvSpPr/>
          <p:nvPr/>
        </p:nvSpPr>
        <p:spPr bwMode="gray">
          <a:xfrm>
            <a:off x="611560" y="3338364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19</a:t>
            </a:r>
          </a:p>
        </p:txBody>
      </p:sp>
      <p:sp>
        <p:nvSpPr>
          <p:cNvPr id="29" name="Rettangolo 28"/>
          <p:cNvSpPr/>
          <p:nvPr/>
        </p:nvSpPr>
        <p:spPr bwMode="gray">
          <a:xfrm>
            <a:off x="611560" y="5661248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8</a:t>
            </a:r>
          </a:p>
        </p:txBody>
      </p:sp>
      <p:sp>
        <p:nvSpPr>
          <p:cNvPr id="20" name="Rettangolo 19"/>
          <p:cNvSpPr/>
          <p:nvPr/>
        </p:nvSpPr>
        <p:spPr bwMode="gray">
          <a:xfrm>
            <a:off x="611560" y="3861048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5</a:t>
            </a:r>
          </a:p>
        </p:txBody>
      </p:sp>
      <p:sp>
        <p:nvSpPr>
          <p:cNvPr id="22" name="Rettangolo 21"/>
          <p:cNvSpPr/>
          <p:nvPr/>
        </p:nvSpPr>
        <p:spPr bwMode="gray">
          <a:xfrm>
            <a:off x="611560" y="4509120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14</a:t>
            </a:r>
          </a:p>
        </p:txBody>
      </p:sp>
    </p:spTree>
    <p:extLst>
      <p:ext uri="{BB962C8B-B14F-4D97-AF65-F5344CB8AC3E}">
        <p14:creationId xmlns:p14="http://schemas.microsoft.com/office/powerpoint/2010/main" val="17930409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/>
          </p:cNvSpPr>
          <p:nvPr/>
        </p:nvSpPr>
        <p:spPr>
          <a:xfrm>
            <a:off x="324519" y="117004"/>
            <a:ext cx="763185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 smtClean="0"/>
              <a:t>La risposta alla RICHIESTA ESTORSIVA: descrizione</a:t>
            </a:r>
          </a:p>
        </p:txBody>
      </p:sp>
      <p:sp>
        <p:nvSpPr>
          <p:cNvPr id="9" name="Rettangolo 8"/>
          <p:cNvSpPr/>
          <p:nvPr/>
        </p:nvSpPr>
        <p:spPr>
          <a:xfrm>
            <a:off x="248064" y="911042"/>
            <a:ext cx="900445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000" i="1" dirty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Come ha soddisfatto le richieste? </a:t>
            </a:r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;</a:t>
            </a:r>
          </a:p>
          <a:p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Nel </a:t>
            </a:r>
            <a:r>
              <a:rPr lang="it-IT" sz="1000" i="1" dirty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2013 che cifra complessiva è stato/a costretto a pagare / qual è il valore complessivo della merce che è stato costretto a consegnare? </a:t>
            </a:r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;</a:t>
            </a:r>
          </a:p>
          <a:p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Questa </a:t>
            </a:r>
            <a:r>
              <a:rPr lang="it-IT" sz="1000" i="1" dirty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cifra/questo valore della merce, Le è stata estorta in una sola volta, o in più </a:t>
            </a:r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volte</a:t>
            </a:r>
            <a:r>
              <a:rPr lang="it-IT" sz="1000" i="1" dirty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? Se in più volte, con cadenze irregolari o regolari?</a:t>
            </a:r>
          </a:p>
          <a:p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 (base= ha accettato di pagare, n=115)</a:t>
            </a:r>
            <a:endParaRPr lang="it-IT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graphicFrame>
        <p:nvGraphicFramePr>
          <p:cNvPr id="20" name="Grafico 19"/>
          <p:cNvGraphicFramePr/>
          <p:nvPr>
            <p:extLst>
              <p:ext uri="{D42A27DB-BD31-4B8C-83A1-F6EECF244321}">
                <p14:modId xmlns:p14="http://schemas.microsoft.com/office/powerpoint/2010/main" val="2937345522"/>
              </p:ext>
            </p:extLst>
          </p:nvPr>
        </p:nvGraphicFramePr>
        <p:xfrm>
          <a:off x="2116613" y="2802242"/>
          <a:ext cx="5623739" cy="35070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2" name="Tabella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6446151"/>
              </p:ext>
            </p:extLst>
          </p:nvPr>
        </p:nvGraphicFramePr>
        <p:xfrm>
          <a:off x="683568" y="2778329"/>
          <a:ext cx="2448272" cy="26642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8272"/>
              </a:tblGrid>
              <a:tr h="532859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Denaro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32859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onsegna di merce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32859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cquisto</a:t>
                      </a:r>
                      <a:r>
                        <a:rPr lang="it-IT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a fornitori imposti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32859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ssunzione</a:t>
                      </a:r>
                      <a:r>
                        <a:rPr lang="it-IT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p</a:t>
                      </a:r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rsonale imposto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32859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essione quota di</a:t>
                      </a:r>
                      <a:r>
                        <a:rPr lang="it-IT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azienda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4" name="Rettangolo 23"/>
          <p:cNvSpPr/>
          <p:nvPr/>
        </p:nvSpPr>
        <p:spPr bwMode="gray">
          <a:xfrm>
            <a:off x="1331640" y="2046939"/>
            <a:ext cx="3168352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it-IT" sz="1600" i="1" u="sng" dirty="0" smtClean="0">
                <a:solidFill>
                  <a:srgbClr val="000000"/>
                </a:solidFill>
              </a:rPr>
              <a:t>Come ha risposto alla richiesta?</a:t>
            </a:r>
          </a:p>
        </p:txBody>
      </p:sp>
      <p:graphicFrame>
        <p:nvGraphicFramePr>
          <p:cNvPr id="27" name="Tabella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0894707"/>
              </p:ext>
            </p:extLst>
          </p:nvPr>
        </p:nvGraphicFramePr>
        <p:xfrm>
          <a:off x="6156176" y="2420888"/>
          <a:ext cx="2160240" cy="16183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67606"/>
                <a:gridCol w="492634"/>
              </a:tblGrid>
              <a:tr h="269730">
                <a:tc>
                  <a:txBody>
                    <a:bodyPr/>
                    <a:lstStyle/>
                    <a:p>
                      <a:pPr algn="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69730">
                <a:tc>
                  <a:txBody>
                    <a:bodyPr/>
                    <a:lstStyle/>
                    <a:p>
                      <a:pPr algn="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ino 1.ooo€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69730">
                <a:tc>
                  <a:txBody>
                    <a:bodyPr/>
                    <a:lstStyle/>
                    <a:p>
                      <a:pPr algn="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-5.ooo€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69730">
                <a:tc>
                  <a:txBody>
                    <a:bodyPr/>
                    <a:lstStyle/>
                    <a:p>
                      <a:pPr algn="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-10.ooo€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69730">
                <a:tc>
                  <a:txBody>
                    <a:bodyPr/>
                    <a:lstStyle/>
                    <a:p>
                      <a:pPr algn="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-20.oo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69730">
                <a:tc>
                  <a:txBody>
                    <a:bodyPr/>
                    <a:lstStyle/>
                    <a:p>
                      <a:pPr algn="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&gt;20.oo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8" name="Rettangolo 27"/>
          <p:cNvSpPr/>
          <p:nvPr/>
        </p:nvSpPr>
        <p:spPr bwMode="gray">
          <a:xfrm>
            <a:off x="4860032" y="1628800"/>
            <a:ext cx="3816424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600" i="1" u="sng" dirty="0" smtClean="0">
                <a:solidFill>
                  <a:srgbClr val="000000"/>
                </a:solidFill>
              </a:rPr>
              <a:t>Dichiara somma pagata/valore merce pari a</a:t>
            </a:r>
          </a:p>
        </p:txBody>
      </p:sp>
      <p:sp>
        <p:nvSpPr>
          <p:cNvPr id="32" name="Text Box 9"/>
          <p:cNvSpPr txBox="1">
            <a:spLocks noChangeArrowheads="1"/>
          </p:cNvSpPr>
          <p:nvPr/>
        </p:nvSpPr>
        <p:spPr bwMode="auto">
          <a:xfrm>
            <a:off x="5774060" y="4077072"/>
            <a:ext cx="2542356" cy="52322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wrap="square">
            <a:spAutoFit/>
          </a:bodyPr>
          <a:lstStyle>
            <a:defPPr>
              <a:defRPr lang="it-IT"/>
            </a:defPPr>
            <a:lvl1pPr algn="ctr">
              <a:defRPr sz="1600">
                <a:solidFill>
                  <a:srgbClr val="000000"/>
                </a:solidFill>
                <a:latin typeface="Century Gothic" pitchFamily="34" charset="0"/>
              </a:defRPr>
            </a:lvl1pPr>
          </a:lstStyle>
          <a:p>
            <a:r>
              <a:rPr lang="it-IT" sz="1400" dirty="0" smtClean="0"/>
              <a:t>vs 2007 in flessione somme superiori a10.ooo€</a:t>
            </a:r>
          </a:p>
        </p:txBody>
      </p:sp>
      <p:sp>
        <p:nvSpPr>
          <p:cNvPr id="14" name="Rettangolo 13"/>
          <p:cNvSpPr/>
          <p:nvPr/>
        </p:nvSpPr>
        <p:spPr bwMode="gray">
          <a:xfrm>
            <a:off x="5004048" y="4725144"/>
            <a:ext cx="3816424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600" i="1" u="sng" dirty="0" smtClean="0">
                <a:solidFill>
                  <a:srgbClr val="000000"/>
                </a:solidFill>
              </a:rPr>
              <a:t>La somma/merce è stata consegnata…</a:t>
            </a:r>
          </a:p>
        </p:txBody>
      </p:sp>
      <p:graphicFrame>
        <p:nvGraphicFramePr>
          <p:cNvPr id="15" name="Tabella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3120483"/>
              </p:ext>
            </p:extLst>
          </p:nvPr>
        </p:nvGraphicFramePr>
        <p:xfrm>
          <a:off x="5148064" y="5301209"/>
          <a:ext cx="3312368" cy="13945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56996"/>
                <a:gridCol w="755372"/>
              </a:tblGrid>
              <a:tr h="196510">
                <a:tc>
                  <a:txBody>
                    <a:bodyPr/>
                    <a:lstStyle/>
                    <a:p>
                      <a:pPr algn="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92910">
                <a:tc>
                  <a:txBody>
                    <a:bodyPr/>
                    <a:lstStyle/>
                    <a:p>
                      <a:pPr algn="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 UN’UNICA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SOLUZIO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92910">
                <a:tc>
                  <a:txBody>
                    <a:bodyPr/>
                    <a:lstStyle/>
                    <a:p>
                      <a:pPr algn="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VOLTE…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92910">
                <a:tc>
                  <a:txBody>
                    <a:bodyPr/>
                    <a:lstStyle/>
                    <a:p>
                      <a:pPr algn="r" fontAlgn="b"/>
                      <a:r>
                        <a:rPr lang="it-IT" sz="1400" i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…a</a:t>
                      </a:r>
                      <a:r>
                        <a:rPr lang="it-IT" sz="1400" i="1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cadenza irregolare</a:t>
                      </a:r>
                      <a:endParaRPr lang="it-IT" sz="1400" i="1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92910">
                <a:tc>
                  <a:txBody>
                    <a:bodyPr/>
                    <a:lstStyle/>
                    <a:p>
                      <a:pPr algn="r" fontAlgn="b"/>
                      <a:r>
                        <a:rPr lang="it-IT" sz="1400" i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…a cadenza regolare</a:t>
                      </a:r>
                      <a:endParaRPr lang="it-IT" sz="1400" i="1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7" name="Rettangolo 16"/>
          <p:cNvSpPr/>
          <p:nvPr/>
        </p:nvSpPr>
        <p:spPr bwMode="gray">
          <a:xfrm>
            <a:off x="-180528" y="2154890"/>
            <a:ext cx="1584176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Ind. 2007</a:t>
            </a:r>
          </a:p>
        </p:txBody>
      </p:sp>
      <p:sp>
        <p:nvSpPr>
          <p:cNvPr id="18" name="Rettangolo 17"/>
          <p:cNvSpPr/>
          <p:nvPr/>
        </p:nvSpPr>
        <p:spPr bwMode="gray">
          <a:xfrm>
            <a:off x="323528" y="2874970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52</a:t>
            </a:r>
          </a:p>
        </p:txBody>
      </p:sp>
      <p:sp>
        <p:nvSpPr>
          <p:cNvPr id="19" name="Rettangolo 18"/>
          <p:cNvSpPr/>
          <p:nvPr/>
        </p:nvSpPr>
        <p:spPr bwMode="gray">
          <a:xfrm>
            <a:off x="323528" y="3334958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55</a:t>
            </a:r>
          </a:p>
        </p:txBody>
      </p:sp>
      <p:sp>
        <p:nvSpPr>
          <p:cNvPr id="23" name="Rettangolo 22"/>
          <p:cNvSpPr/>
          <p:nvPr/>
        </p:nvSpPr>
        <p:spPr bwMode="gray">
          <a:xfrm>
            <a:off x="323528" y="4426095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err="1" smtClean="0">
                <a:solidFill>
                  <a:srgbClr val="E95E0F"/>
                </a:solidFill>
              </a:rPr>
              <a:t>n.d.</a:t>
            </a:r>
            <a:endParaRPr lang="it-IT" sz="1400" i="1" dirty="0" smtClean="0">
              <a:solidFill>
                <a:srgbClr val="E95E0F"/>
              </a:solidFill>
            </a:endParaRPr>
          </a:p>
        </p:txBody>
      </p:sp>
      <p:sp>
        <p:nvSpPr>
          <p:cNvPr id="25" name="Rettangolo 24"/>
          <p:cNvSpPr/>
          <p:nvPr/>
        </p:nvSpPr>
        <p:spPr bwMode="gray">
          <a:xfrm>
            <a:off x="323528" y="4956501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err="1" smtClean="0">
                <a:solidFill>
                  <a:srgbClr val="E95E0F"/>
                </a:solidFill>
              </a:rPr>
              <a:t>n.d.</a:t>
            </a:r>
            <a:endParaRPr lang="it-IT" sz="1400" i="1" dirty="0" smtClean="0">
              <a:solidFill>
                <a:srgbClr val="E95E0F"/>
              </a:solidFill>
            </a:endParaRPr>
          </a:p>
        </p:txBody>
      </p:sp>
      <p:sp>
        <p:nvSpPr>
          <p:cNvPr id="26" name="Rettangolo 25"/>
          <p:cNvSpPr/>
          <p:nvPr/>
        </p:nvSpPr>
        <p:spPr bwMode="gray">
          <a:xfrm>
            <a:off x="323396" y="3872043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err="1" smtClean="0">
                <a:solidFill>
                  <a:srgbClr val="E95E0F"/>
                </a:solidFill>
              </a:rPr>
              <a:t>n.d.</a:t>
            </a:r>
            <a:endParaRPr lang="it-IT" sz="1400" i="1" dirty="0" smtClean="0">
              <a:solidFill>
                <a:srgbClr val="E95E0F"/>
              </a:solidFill>
            </a:endParaRPr>
          </a:p>
        </p:txBody>
      </p:sp>
      <p:sp>
        <p:nvSpPr>
          <p:cNvPr id="29" name="Rettangolo 28"/>
          <p:cNvSpPr/>
          <p:nvPr/>
        </p:nvSpPr>
        <p:spPr bwMode="gray">
          <a:xfrm>
            <a:off x="5004048" y="1999857"/>
            <a:ext cx="1584176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Ind. 2007</a:t>
            </a:r>
          </a:p>
        </p:txBody>
      </p:sp>
      <p:sp>
        <p:nvSpPr>
          <p:cNvPr id="30" name="Rettangolo 29"/>
          <p:cNvSpPr/>
          <p:nvPr/>
        </p:nvSpPr>
        <p:spPr bwMode="gray">
          <a:xfrm>
            <a:off x="5502508" y="2575921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20</a:t>
            </a:r>
          </a:p>
        </p:txBody>
      </p:sp>
      <p:sp>
        <p:nvSpPr>
          <p:cNvPr id="31" name="Rettangolo 30"/>
          <p:cNvSpPr/>
          <p:nvPr/>
        </p:nvSpPr>
        <p:spPr bwMode="gray">
          <a:xfrm>
            <a:off x="5508104" y="2863953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21</a:t>
            </a:r>
          </a:p>
        </p:txBody>
      </p:sp>
      <p:sp>
        <p:nvSpPr>
          <p:cNvPr id="33" name="Rettangolo 32"/>
          <p:cNvSpPr/>
          <p:nvPr/>
        </p:nvSpPr>
        <p:spPr bwMode="gray">
          <a:xfrm>
            <a:off x="5508104" y="3512025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37</a:t>
            </a:r>
          </a:p>
        </p:txBody>
      </p:sp>
      <p:sp>
        <p:nvSpPr>
          <p:cNvPr id="34" name="Rettangolo 33"/>
          <p:cNvSpPr/>
          <p:nvPr/>
        </p:nvSpPr>
        <p:spPr bwMode="gray">
          <a:xfrm>
            <a:off x="5507972" y="3118934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22</a:t>
            </a:r>
          </a:p>
        </p:txBody>
      </p:sp>
      <p:sp>
        <p:nvSpPr>
          <p:cNvPr id="2" name="Parentesi graffa aperta 1"/>
          <p:cNvSpPr/>
          <p:nvPr/>
        </p:nvSpPr>
        <p:spPr>
          <a:xfrm>
            <a:off x="6444208" y="3567905"/>
            <a:ext cx="45719" cy="393091"/>
          </a:xfrm>
          <a:prstGeom prst="leftBrac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E95E0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2696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/>
          </p:cNvSpPr>
          <p:nvPr/>
        </p:nvSpPr>
        <p:spPr>
          <a:xfrm>
            <a:off x="324519" y="116632"/>
            <a:ext cx="763185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 smtClean="0">
                <a:solidFill>
                  <a:srgbClr val="E95E0F"/>
                </a:solidFill>
              </a:rPr>
              <a:t>Le azioni a protezione della  propria impresa</a:t>
            </a:r>
          </a:p>
        </p:txBody>
      </p:sp>
      <p:sp>
        <p:nvSpPr>
          <p:cNvPr id="9" name="Rettangolo 8"/>
          <p:cNvSpPr/>
          <p:nvPr/>
        </p:nvSpPr>
        <p:spPr>
          <a:xfrm>
            <a:off x="251520" y="908348"/>
            <a:ext cx="900445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000" i="1" dirty="0">
                <a:solidFill>
                  <a:srgbClr val="928580">
                    <a:lumMod val="50000"/>
                  </a:srgbClr>
                </a:solidFill>
                <a:latin typeface="Century Gothic" pitchFamily="34" charset="0"/>
              </a:rPr>
              <a:t>Che genere di misure cautelative ha preso nei confronti del racket e degli altri fenomeni </a:t>
            </a:r>
            <a:r>
              <a:rPr lang="it-IT" sz="1000" i="1" dirty="0" smtClean="0">
                <a:solidFill>
                  <a:srgbClr val="928580">
                    <a:lumMod val="50000"/>
                  </a:srgbClr>
                </a:solidFill>
                <a:latin typeface="Century Gothic" pitchFamily="34" charset="0"/>
              </a:rPr>
              <a:t> criminali</a:t>
            </a:r>
            <a:r>
              <a:rPr lang="it-IT" sz="1000" i="1" dirty="0">
                <a:solidFill>
                  <a:srgbClr val="928580">
                    <a:lumMod val="50000"/>
                  </a:srgbClr>
                </a:solidFill>
                <a:latin typeface="Century Gothic" pitchFamily="34" charset="0"/>
              </a:rPr>
              <a:t>? </a:t>
            </a:r>
          </a:p>
          <a:p>
            <a:r>
              <a:rPr lang="it-IT" sz="1000" i="1" dirty="0">
                <a:solidFill>
                  <a:srgbClr val="928580">
                    <a:lumMod val="50000"/>
                  </a:srgbClr>
                </a:solidFill>
                <a:latin typeface="Century Gothic" pitchFamily="34" charset="0"/>
              </a:rPr>
              <a:t>(base = </a:t>
            </a:r>
            <a:r>
              <a:rPr lang="it-IT" sz="1000" i="1" dirty="0" smtClean="0">
                <a:solidFill>
                  <a:srgbClr val="928580">
                    <a:lumMod val="50000"/>
                  </a:srgbClr>
                </a:solidFill>
                <a:latin typeface="Century Gothic" pitchFamily="34" charset="0"/>
              </a:rPr>
              <a:t>totale campione, n= 5880)</a:t>
            </a:r>
            <a:endParaRPr lang="it-IT" sz="1000" dirty="0">
              <a:solidFill>
                <a:srgbClr val="928580">
                  <a:lumMod val="50000"/>
                </a:srgbClr>
              </a:solidFill>
            </a:endParaRPr>
          </a:p>
        </p:txBody>
      </p:sp>
      <p:graphicFrame>
        <p:nvGraphicFramePr>
          <p:cNvPr id="20" name="Grafico 19"/>
          <p:cNvGraphicFramePr/>
          <p:nvPr>
            <p:extLst>
              <p:ext uri="{D42A27DB-BD31-4B8C-83A1-F6EECF244321}">
                <p14:modId xmlns:p14="http://schemas.microsoft.com/office/powerpoint/2010/main" val="225895244"/>
              </p:ext>
            </p:extLst>
          </p:nvPr>
        </p:nvGraphicFramePr>
        <p:xfrm>
          <a:off x="2620669" y="2802242"/>
          <a:ext cx="5623739" cy="3867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2" name="Tabella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8571475"/>
              </p:ext>
            </p:extLst>
          </p:nvPr>
        </p:nvGraphicFramePr>
        <p:xfrm>
          <a:off x="1115616" y="2778329"/>
          <a:ext cx="2448272" cy="38190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8272"/>
              </a:tblGrid>
              <a:tr h="424336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ALMENO UNA</a:t>
                      </a:r>
                      <a:r>
                        <a:rPr lang="it-IT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INIZIATIVA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24336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  telecamere/impianti allarme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24336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 assicurazione</a:t>
                      </a:r>
                      <a:endParaRPr lang="it-IT" sz="1100" b="0" i="1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24336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 vigilanza privata</a:t>
                      </a:r>
                      <a:endParaRPr lang="it-IT" sz="1100" b="0" i="1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24336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  vetrina corazzata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24336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  denuncia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24336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  associazione di categoria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24336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  richiesta informale polizia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24336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associazioni</a:t>
                      </a:r>
                      <a:r>
                        <a:rPr lang="it-IT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antiracket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4" name="Rettangolo 23"/>
          <p:cNvSpPr/>
          <p:nvPr/>
        </p:nvSpPr>
        <p:spPr bwMode="gray">
          <a:xfrm>
            <a:off x="2123728" y="1700808"/>
            <a:ext cx="3419872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600" i="1" u="sng" dirty="0" smtClean="0">
                <a:solidFill>
                  <a:srgbClr val="000000"/>
                </a:solidFill>
              </a:rPr>
              <a:t>Le misure per la sicurezza della propria impresa vs racket e criminalità</a:t>
            </a:r>
          </a:p>
        </p:txBody>
      </p:sp>
      <p:sp>
        <p:nvSpPr>
          <p:cNvPr id="16" name="Text Box 8"/>
          <p:cNvSpPr txBox="1">
            <a:spLocks noChangeArrowheads="1"/>
          </p:cNvSpPr>
          <p:nvPr/>
        </p:nvSpPr>
        <p:spPr bwMode="auto">
          <a:xfrm>
            <a:off x="3419660" y="2492896"/>
            <a:ext cx="358775" cy="212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ctr">
            <a:spAutoFit/>
          </a:bodyPr>
          <a:lstStyle/>
          <a:p>
            <a:pPr algn="ctr">
              <a:defRPr/>
            </a:pPr>
            <a:r>
              <a:rPr lang="it-IT" sz="1400" i="1" dirty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cs typeface="Arial" charset="0"/>
              </a:rPr>
              <a:t>%</a:t>
            </a:r>
          </a:p>
        </p:txBody>
      </p:sp>
      <p:cxnSp>
        <p:nvCxnSpPr>
          <p:cNvPr id="3" name="Connettore 2 2"/>
          <p:cNvCxnSpPr/>
          <p:nvPr/>
        </p:nvCxnSpPr>
        <p:spPr>
          <a:xfrm>
            <a:off x="5508104" y="3104964"/>
            <a:ext cx="576064" cy="108012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ttangolo 29"/>
          <p:cNvSpPr/>
          <p:nvPr/>
        </p:nvSpPr>
        <p:spPr bwMode="gray">
          <a:xfrm>
            <a:off x="6074108" y="2444788"/>
            <a:ext cx="2808312" cy="30894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600" u="sng" dirty="0" smtClean="0">
                <a:solidFill>
                  <a:srgbClr val="000000"/>
                </a:solidFill>
              </a:rPr>
              <a:t>accentuazioni</a:t>
            </a:r>
          </a:p>
        </p:txBody>
      </p:sp>
      <p:sp>
        <p:nvSpPr>
          <p:cNvPr id="33" name="Rettangolo 32"/>
          <p:cNvSpPr/>
          <p:nvPr/>
        </p:nvSpPr>
        <p:spPr bwMode="gray">
          <a:xfrm>
            <a:off x="6156176" y="2802113"/>
            <a:ext cx="2808312" cy="1196228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Tx/>
              <a:buChar char="-"/>
            </a:pPr>
            <a:r>
              <a:rPr lang="it-IT" sz="1600" dirty="0" smtClean="0">
                <a:solidFill>
                  <a:srgbClr val="000000"/>
                </a:solidFill>
              </a:rPr>
              <a:t>Tabaccai  	76%</a:t>
            </a:r>
          </a:p>
          <a:p>
            <a:pPr marL="285750" indent="-285750">
              <a:buFontTx/>
              <a:buChar char="-"/>
            </a:pPr>
            <a:r>
              <a:rPr lang="it-IT" sz="1600" dirty="0" smtClean="0">
                <a:solidFill>
                  <a:srgbClr val="000000"/>
                </a:solidFill>
              </a:rPr>
              <a:t>Benzinai  	60%</a:t>
            </a:r>
          </a:p>
          <a:p>
            <a:pPr marL="285750" indent="-285750">
              <a:buFontTx/>
              <a:buChar char="-"/>
            </a:pPr>
            <a:r>
              <a:rPr lang="it-IT" sz="1600" dirty="0" smtClean="0">
                <a:solidFill>
                  <a:srgbClr val="000000"/>
                </a:solidFill>
              </a:rPr>
              <a:t>Pubblici esercizi	54%</a:t>
            </a:r>
          </a:p>
          <a:p>
            <a:pPr marL="285750" indent="-285750">
              <a:buFontTx/>
              <a:buChar char="-"/>
            </a:pPr>
            <a:r>
              <a:rPr lang="it-IT" sz="1600" dirty="0" smtClean="0">
                <a:solidFill>
                  <a:srgbClr val="000000"/>
                </a:solidFill>
              </a:rPr>
              <a:t>Nord Est	54%</a:t>
            </a:r>
          </a:p>
        </p:txBody>
      </p:sp>
      <p:sp>
        <p:nvSpPr>
          <p:cNvPr id="14" name="Rettangolo 13"/>
          <p:cNvSpPr/>
          <p:nvPr/>
        </p:nvSpPr>
        <p:spPr bwMode="gray">
          <a:xfrm>
            <a:off x="-36512" y="2154890"/>
            <a:ext cx="1584176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Ind. 2007</a:t>
            </a:r>
          </a:p>
        </p:txBody>
      </p:sp>
      <p:sp>
        <p:nvSpPr>
          <p:cNvPr id="15" name="Rettangolo 14"/>
          <p:cNvSpPr/>
          <p:nvPr/>
        </p:nvSpPr>
        <p:spPr bwMode="gray">
          <a:xfrm>
            <a:off x="522497" y="2780928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40</a:t>
            </a:r>
          </a:p>
        </p:txBody>
      </p:sp>
      <p:sp>
        <p:nvSpPr>
          <p:cNvPr id="17" name="Rettangolo 16"/>
          <p:cNvSpPr/>
          <p:nvPr/>
        </p:nvSpPr>
        <p:spPr bwMode="gray">
          <a:xfrm>
            <a:off x="522497" y="3212976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err="1" smtClean="0">
                <a:solidFill>
                  <a:srgbClr val="E95E0F"/>
                </a:solidFill>
              </a:rPr>
              <a:t>n.d.</a:t>
            </a:r>
            <a:endParaRPr lang="it-IT" sz="1400" i="1" dirty="0" smtClean="0">
              <a:solidFill>
                <a:srgbClr val="E95E0F"/>
              </a:solidFill>
            </a:endParaRPr>
          </a:p>
        </p:txBody>
      </p:sp>
      <p:sp>
        <p:nvSpPr>
          <p:cNvPr id="18" name="Rettangolo 17"/>
          <p:cNvSpPr/>
          <p:nvPr/>
        </p:nvSpPr>
        <p:spPr bwMode="gray">
          <a:xfrm>
            <a:off x="522497" y="5257140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err="1" smtClean="0">
                <a:solidFill>
                  <a:srgbClr val="E95E0F"/>
                </a:solidFill>
              </a:rPr>
              <a:t>n.d.</a:t>
            </a:r>
            <a:endParaRPr lang="it-IT" sz="1400" i="1" dirty="0" smtClean="0">
              <a:solidFill>
                <a:srgbClr val="E95E0F"/>
              </a:solidFill>
            </a:endParaRPr>
          </a:p>
        </p:txBody>
      </p:sp>
      <p:sp>
        <p:nvSpPr>
          <p:cNvPr id="19" name="Rettangolo 18"/>
          <p:cNvSpPr/>
          <p:nvPr/>
        </p:nvSpPr>
        <p:spPr bwMode="gray">
          <a:xfrm>
            <a:off x="522497" y="6121236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err="1" smtClean="0">
                <a:solidFill>
                  <a:srgbClr val="E95E0F"/>
                </a:solidFill>
              </a:rPr>
              <a:t>n.d.</a:t>
            </a:r>
            <a:endParaRPr lang="it-IT" sz="1400" i="1" dirty="0" smtClean="0">
              <a:solidFill>
                <a:srgbClr val="E95E0F"/>
              </a:solidFill>
            </a:endParaRPr>
          </a:p>
        </p:txBody>
      </p:sp>
      <p:sp>
        <p:nvSpPr>
          <p:cNvPr id="23" name="Rettangolo 22"/>
          <p:cNvSpPr/>
          <p:nvPr/>
        </p:nvSpPr>
        <p:spPr bwMode="gray">
          <a:xfrm>
            <a:off x="522497" y="3611973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18</a:t>
            </a:r>
          </a:p>
        </p:txBody>
      </p:sp>
      <p:sp>
        <p:nvSpPr>
          <p:cNvPr id="27" name="Rettangolo 26"/>
          <p:cNvSpPr/>
          <p:nvPr/>
        </p:nvSpPr>
        <p:spPr bwMode="gray">
          <a:xfrm>
            <a:off x="522497" y="4044021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17</a:t>
            </a:r>
          </a:p>
        </p:txBody>
      </p:sp>
      <p:sp>
        <p:nvSpPr>
          <p:cNvPr id="28" name="Rettangolo 27"/>
          <p:cNvSpPr/>
          <p:nvPr/>
        </p:nvSpPr>
        <p:spPr bwMode="gray">
          <a:xfrm>
            <a:off x="522497" y="4465052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11</a:t>
            </a:r>
          </a:p>
        </p:txBody>
      </p:sp>
      <p:sp>
        <p:nvSpPr>
          <p:cNvPr id="31" name="Rettangolo 30"/>
          <p:cNvSpPr/>
          <p:nvPr/>
        </p:nvSpPr>
        <p:spPr bwMode="gray">
          <a:xfrm>
            <a:off x="522497" y="4897100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5</a:t>
            </a:r>
          </a:p>
        </p:txBody>
      </p:sp>
      <p:sp>
        <p:nvSpPr>
          <p:cNvPr id="32" name="Rettangolo 31"/>
          <p:cNvSpPr/>
          <p:nvPr/>
        </p:nvSpPr>
        <p:spPr bwMode="gray">
          <a:xfrm>
            <a:off x="511480" y="5717128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628404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"/>
          <p:cNvSpPr txBox="1">
            <a:spLocks noChangeAspect="1" noChangeArrowheads="1"/>
          </p:cNvSpPr>
          <p:nvPr/>
        </p:nvSpPr>
        <p:spPr bwMode="auto">
          <a:xfrm>
            <a:off x="323528" y="-27384"/>
            <a:ext cx="5375083" cy="720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 smtClean="0"/>
              <a:t>Indice </a:t>
            </a:r>
            <a:endParaRPr lang="it-IT" dirty="0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gray">
          <a:xfrm>
            <a:off x="705775" y="2682680"/>
            <a:ext cx="8028756" cy="369411"/>
          </a:xfrm>
          <a:prstGeom prst="rect">
            <a:avLst/>
          </a:prstGeom>
          <a:solidFill>
            <a:srgbClr val="E95E0F"/>
          </a:solidFill>
          <a:ln>
            <a:noFill/>
          </a:ln>
          <a:extLst/>
        </p:spPr>
        <p:txBody>
          <a:bodyPr lIns="504000" tIns="46800" rIns="90000" bIns="46800" anchor="ctr"/>
          <a:lstStyle/>
          <a:p>
            <a:pPr fontAlgn="base">
              <a:spcBef>
                <a:spcPct val="0"/>
              </a:spcBef>
              <a:spcAft>
                <a:spcPct val="20000"/>
              </a:spcAft>
            </a:pPr>
            <a:r>
              <a:rPr lang="it-IT" sz="1600" noProof="1" smtClean="0">
                <a:solidFill>
                  <a:schemeClr val="bg1"/>
                </a:solidFill>
                <a:latin typeface="Century Gothic" panose="020B0502020202020204" pitchFamily="34" charset="0"/>
                <a:cs typeface="Arial" pitchFamily="34" charset="0"/>
              </a:rPr>
              <a:t>Le percezioni sulla criminalità</a:t>
            </a:r>
            <a:endParaRPr lang="it-IT" sz="1600" noProof="1">
              <a:solidFill>
                <a:schemeClr val="bg1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17" name="Rectangle 5"/>
          <p:cNvSpPr>
            <a:spLocks noChangeArrowheads="1"/>
          </p:cNvSpPr>
          <p:nvPr/>
        </p:nvSpPr>
        <p:spPr bwMode="gray">
          <a:xfrm>
            <a:off x="683568" y="3908907"/>
            <a:ext cx="8028756" cy="370432"/>
          </a:xfrm>
          <a:prstGeom prst="rect">
            <a:avLst/>
          </a:prstGeom>
          <a:solidFill>
            <a:srgbClr val="E95E0F"/>
          </a:solidFill>
          <a:ln>
            <a:noFill/>
          </a:ln>
          <a:extLst/>
        </p:spPr>
        <p:txBody>
          <a:bodyPr lIns="504000" tIns="46800" rIns="90000" bIns="46800" anchor="ctr"/>
          <a:lstStyle/>
          <a:p>
            <a:pPr fontAlgn="base">
              <a:spcBef>
                <a:spcPct val="0"/>
              </a:spcBef>
              <a:spcAft>
                <a:spcPct val="20000"/>
              </a:spcAft>
            </a:pPr>
            <a:r>
              <a:rPr lang="it-IT" sz="1600" noProof="1" smtClean="0">
                <a:solidFill>
                  <a:schemeClr val="bg1"/>
                </a:solidFill>
                <a:latin typeface="Century Gothic" panose="020B0502020202020204" pitchFamily="34" charset="0"/>
                <a:cs typeface="Arial" pitchFamily="34" charset="0"/>
              </a:rPr>
              <a:t>Le risposte alle richieste estorsive</a:t>
            </a:r>
            <a:endParaRPr lang="it-IT" sz="1600" noProof="1">
              <a:solidFill>
                <a:schemeClr val="bg1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29" name="Rectangle 5"/>
          <p:cNvSpPr>
            <a:spLocks noChangeArrowheads="1"/>
          </p:cNvSpPr>
          <p:nvPr/>
        </p:nvSpPr>
        <p:spPr bwMode="gray">
          <a:xfrm>
            <a:off x="825769" y="1509654"/>
            <a:ext cx="7908762" cy="369411"/>
          </a:xfrm>
          <a:prstGeom prst="rect">
            <a:avLst/>
          </a:prstGeom>
          <a:solidFill>
            <a:srgbClr val="E95E0F"/>
          </a:solidFill>
          <a:ln>
            <a:noFill/>
          </a:ln>
          <a:extLst/>
        </p:spPr>
        <p:txBody>
          <a:bodyPr lIns="504000" tIns="46800" rIns="90000" bIns="46800" anchor="ctr"/>
          <a:lstStyle/>
          <a:p>
            <a:pPr fontAlgn="base">
              <a:spcBef>
                <a:spcPct val="0"/>
              </a:spcBef>
              <a:spcAft>
                <a:spcPct val="20000"/>
              </a:spcAft>
            </a:pPr>
            <a:r>
              <a:rPr lang="it-IT" sz="1600" noProof="1" smtClean="0">
                <a:solidFill>
                  <a:schemeClr val="bg1"/>
                </a:solidFill>
                <a:latin typeface="Century Gothic" panose="020B0502020202020204" pitchFamily="34" charset="0"/>
                <a:cs typeface="Arial" pitchFamily="34" charset="0"/>
              </a:rPr>
              <a:t>Premessa e obiettivi					</a:t>
            </a:r>
            <a:endParaRPr lang="it-IT" sz="1600" noProof="1">
              <a:solidFill>
                <a:schemeClr val="bg1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grpSp>
        <p:nvGrpSpPr>
          <p:cNvPr id="3" name="Gruppo 2"/>
          <p:cNvGrpSpPr/>
          <p:nvPr/>
        </p:nvGrpSpPr>
        <p:grpSpPr>
          <a:xfrm>
            <a:off x="261788" y="1343025"/>
            <a:ext cx="674462" cy="685668"/>
            <a:chOff x="251520" y="1042856"/>
            <a:chExt cx="792163" cy="792162"/>
          </a:xfrm>
        </p:grpSpPr>
        <p:sp>
          <p:nvSpPr>
            <p:cNvPr id="31" name="Ellipse 13"/>
            <p:cNvSpPr/>
            <p:nvPr/>
          </p:nvSpPr>
          <p:spPr bwMode="gray">
            <a:xfrm>
              <a:off x="251520" y="1042856"/>
              <a:ext cx="792163" cy="792162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t-IT" sz="1600" dirty="0" err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grpSp>
          <p:nvGrpSpPr>
            <p:cNvPr id="32" name="Group 25"/>
            <p:cNvGrpSpPr>
              <a:grpSpLocks/>
            </p:cNvGrpSpPr>
            <p:nvPr>
              <p:custDataLst>
                <p:tags r:id="rId9"/>
              </p:custDataLst>
            </p:nvPr>
          </p:nvGrpSpPr>
          <p:grpSpPr bwMode="gray">
            <a:xfrm>
              <a:off x="350543" y="1132535"/>
              <a:ext cx="575439" cy="575439"/>
              <a:chOff x="2835" y="1202"/>
              <a:chExt cx="308" cy="30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33" name="Oval 26"/>
              <p:cNvSpPr>
                <a:spLocks noChangeArrowheads="1"/>
              </p:cNvSpPr>
              <p:nvPr/>
            </p:nvSpPr>
            <p:spPr bwMode="gray">
              <a:xfrm>
                <a:off x="2835" y="1202"/>
                <a:ext cx="308" cy="308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it-IT" sz="16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" name="Freeform 27"/>
              <p:cNvSpPr>
                <a:spLocks/>
              </p:cNvSpPr>
              <p:nvPr/>
            </p:nvSpPr>
            <p:spPr bwMode="gray">
              <a:xfrm>
                <a:off x="2908" y="1280"/>
                <a:ext cx="172" cy="162"/>
              </a:xfrm>
              <a:custGeom>
                <a:avLst/>
                <a:gdLst/>
                <a:ahLst/>
                <a:cxnLst>
                  <a:cxn ang="0">
                    <a:pos x="333" y="0"/>
                  </a:cxn>
                  <a:cxn ang="0">
                    <a:pos x="342" y="12"/>
                  </a:cxn>
                  <a:cxn ang="0">
                    <a:pos x="224" y="135"/>
                  </a:cxn>
                  <a:cxn ang="0">
                    <a:pos x="126" y="290"/>
                  </a:cxn>
                  <a:cxn ang="0">
                    <a:pos x="108" y="302"/>
                  </a:cxn>
                  <a:cxn ang="0">
                    <a:pos x="77" y="326"/>
                  </a:cxn>
                  <a:cxn ang="0">
                    <a:pos x="63" y="287"/>
                  </a:cxn>
                  <a:cxn ang="0">
                    <a:pos x="56" y="271"/>
                  </a:cxn>
                  <a:cxn ang="0">
                    <a:pos x="28" y="220"/>
                  </a:cxn>
                  <a:cxn ang="0">
                    <a:pos x="0" y="198"/>
                  </a:cxn>
                  <a:cxn ang="0">
                    <a:pos x="49" y="170"/>
                  </a:cxn>
                  <a:cxn ang="0">
                    <a:pos x="91" y="222"/>
                  </a:cxn>
                  <a:cxn ang="0">
                    <a:pos x="98" y="239"/>
                  </a:cxn>
                  <a:cxn ang="0">
                    <a:pos x="205" y="102"/>
                  </a:cxn>
                  <a:cxn ang="0">
                    <a:pos x="333" y="0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rgbClr val="FF6600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it-IT" sz="1600" dirty="0">
                  <a:solidFill>
                    <a:srgbClr val="E95E0F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41" name="Rectangle 5"/>
          <p:cNvSpPr>
            <a:spLocks noChangeArrowheads="1"/>
          </p:cNvSpPr>
          <p:nvPr/>
        </p:nvSpPr>
        <p:spPr bwMode="gray">
          <a:xfrm>
            <a:off x="705775" y="2080938"/>
            <a:ext cx="8028756" cy="369411"/>
          </a:xfrm>
          <a:prstGeom prst="rect">
            <a:avLst/>
          </a:prstGeom>
          <a:solidFill>
            <a:srgbClr val="E95E0F"/>
          </a:solidFill>
          <a:ln>
            <a:noFill/>
          </a:ln>
          <a:extLst/>
        </p:spPr>
        <p:txBody>
          <a:bodyPr lIns="504000" tIns="46800" rIns="90000" bIns="46800" anchor="ctr"/>
          <a:lstStyle/>
          <a:p>
            <a:pPr fontAlgn="base">
              <a:spcBef>
                <a:spcPct val="0"/>
              </a:spcBef>
              <a:spcAft>
                <a:spcPct val="20000"/>
              </a:spcAft>
            </a:pPr>
            <a:r>
              <a:rPr lang="it-IT" sz="1600" noProof="1">
                <a:solidFill>
                  <a:schemeClr val="bg1"/>
                </a:solidFill>
                <a:latin typeface="Century Gothic" panose="020B0502020202020204" pitchFamily="34" charset="0"/>
                <a:cs typeface="Arial" pitchFamily="34" charset="0"/>
              </a:rPr>
              <a:t>Sintesi dei </a:t>
            </a:r>
            <a:r>
              <a:rPr lang="it-IT" sz="1600" noProof="1" smtClean="0">
                <a:solidFill>
                  <a:schemeClr val="bg1"/>
                </a:solidFill>
                <a:latin typeface="Century Gothic" panose="020B0502020202020204" pitchFamily="34" charset="0"/>
                <a:cs typeface="Arial" pitchFamily="34" charset="0"/>
              </a:rPr>
              <a:t>principali risultati					</a:t>
            </a:r>
            <a:endParaRPr lang="it-IT" sz="1600" noProof="1">
              <a:solidFill>
                <a:schemeClr val="bg1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47" name="Rectangle 5"/>
          <p:cNvSpPr>
            <a:spLocks noChangeArrowheads="1"/>
          </p:cNvSpPr>
          <p:nvPr/>
        </p:nvSpPr>
        <p:spPr bwMode="gray">
          <a:xfrm>
            <a:off x="705775" y="3291018"/>
            <a:ext cx="8028756" cy="369411"/>
          </a:xfrm>
          <a:prstGeom prst="rect">
            <a:avLst/>
          </a:prstGeom>
          <a:solidFill>
            <a:srgbClr val="E95E0F"/>
          </a:solidFill>
          <a:ln>
            <a:noFill/>
          </a:ln>
          <a:extLst/>
        </p:spPr>
        <p:txBody>
          <a:bodyPr lIns="504000" tIns="46800" rIns="90000" bIns="46800" anchor="ctr"/>
          <a:lstStyle/>
          <a:p>
            <a:pPr fontAlgn="base">
              <a:spcBef>
                <a:spcPct val="0"/>
              </a:spcBef>
              <a:spcAft>
                <a:spcPct val="20000"/>
              </a:spcAft>
            </a:pPr>
            <a:r>
              <a:rPr lang="it-IT" sz="1600" noProof="1" smtClean="0">
                <a:solidFill>
                  <a:schemeClr val="bg1"/>
                </a:solidFill>
                <a:latin typeface="Century Gothic" panose="020B0502020202020204" pitchFamily="34" charset="0"/>
                <a:cs typeface="Arial" pitchFamily="34" charset="0"/>
              </a:rPr>
              <a:t>L’esperienza di criminalità</a:t>
            </a:r>
            <a:endParaRPr lang="it-IT" sz="1600" noProof="1">
              <a:solidFill>
                <a:schemeClr val="bg1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85" name="Rectangle 5"/>
          <p:cNvSpPr>
            <a:spLocks noChangeArrowheads="1"/>
          </p:cNvSpPr>
          <p:nvPr/>
        </p:nvSpPr>
        <p:spPr bwMode="gray">
          <a:xfrm>
            <a:off x="923558" y="4530221"/>
            <a:ext cx="7788766" cy="370432"/>
          </a:xfrm>
          <a:prstGeom prst="rect">
            <a:avLst/>
          </a:prstGeom>
          <a:solidFill>
            <a:srgbClr val="E95E0F"/>
          </a:solidFill>
          <a:ln>
            <a:noFill/>
          </a:ln>
          <a:extLst/>
        </p:spPr>
        <p:txBody>
          <a:bodyPr lIns="504000" tIns="46800" rIns="90000" bIns="46800" anchor="ctr"/>
          <a:lstStyle/>
          <a:p>
            <a:pPr fontAlgn="base">
              <a:spcBef>
                <a:spcPct val="0"/>
              </a:spcBef>
              <a:spcAft>
                <a:spcPct val="20000"/>
              </a:spcAft>
            </a:pPr>
            <a:r>
              <a:rPr lang="it-IT" sz="1600" noProof="1" smtClean="0">
                <a:solidFill>
                  <a:schemeClr val="bg1"/>
                </a:solidFill>
                <a:latin typeface="Century Gothic" panose="020B0502020202020204" pitchFamily="34" charset="0"/>
                <a:cs typeface="Arial" pitchFamily="34" charset="0"/>
              </a:rPr>
              <a:t>I problemi del territorio</a:t>
            </a:r>
            <a:endParaRPr lang="it-IT" sz="1600" noProof="1">
              <a:solidFill>
                <a:schemeClr val="bg1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86" name="Rectangle 5"/>
          <p:cNvSpPr>
            <a:spLocks noChangeArrowheads="1"/>
          </p:cNvSpPr>
          <p:nvPr/>
        </p:nvSpPr>
        <p:spPr bwMode="gray">
          <a:xfrm>
            <a:off x="683568" y="5796600"/>
            <a:ext cx="8028756" cy="370432"/>
          </a:xfrm>
          <a:prstGeom prst="rect">
            <a:avLst/>
          </a:prstGeom>
          <a:solidFill>
            <a:srgbClr val="E95E0F"/>
          </a:solidFill>
          <a:ln>
            <a:noFill/>
          </a:ln>
          <a:extLst/>
        </p:spPr>
        <p:txBody>
          <a:bodyPr lIns="504000" tIns="46800" rIns="90000" bIns="46800" anchor="ctr"/>
          <a:lstStyle/>
          <a:p>
            <a:pPr fontAlgn="base">
              <a:spcBef>
                <a:spcPct val="0"/>
              </a:spcBef>
              <a:spcAft>
                <a:spcPct val="20000"/>
              </a:spcAft>
            </a:pPr>
            <a:r>
              <a:rPr lang="it-IT" sz="1600" noProof="1" smtClean="0">
                <a:solidFill>
                  <a:schemeClr val="bg1"/>
                </a:solidFill>
                <a:latin typeface="Century Gothic" panose="020B0502020202020204" pitchFamily="34" charset="0"/>
                <a:cs typeface="Arial" pitchFamily="34" charset="0"/>
              </a:rPr>
              <a:t>Allegato: nota metodologica</a:t>
            </a:r>
            <a:endParaRPr lang="it-IT" sz="1600" noProof="1">
              <a:solidFill>
                <a:schemeClr val="bg1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88" name="Ellipse 13"/>
          <p:cNvSpPr/>
          <p:nvPr/>
        </p:nvSpPr>
        <p:spPr bwMode="gray">
          <a:xfrm>
            <a:off x="251520" y="1351526"/>
            <a:ext cx="674462" cy="685668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92" name="Gruppo 91"/>
          <p:cNvGrpSpPr/>
          <p:nvPr/>
        </p:nvGrpSpPr>
        <p:grpSpPr>
          <a:xfrm>
            <a:off x="251520" y="1935050"/>
            <a:ext cx="674462" cy="685668"/>
            <a:chOff x="251520" y="1042856"/>
            <a:chExt cx="792163" cy="792162"/>
          </a:xfrm>
        </p:grpSpPr>
        <p:sp>
          <p:nvSpPr>
            <p:cNvPr id="93" name="Ellipse 13"/>
            <p:cNvSpPr/>
            <p:nvPr/>
          </p:nvSpPr>
          <p:spPr bwMode="gray">
            <a:xfrm>
              <a:off x="251520" y="1042856"/>
              <a:ext cx="792163" cy="792162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t-IT" sz="1600" dirty="0" err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grpSp>
          <p:nvGrpSpPr>
            <p:cNvPr id="94" name="Group 25"/>
            <p:cNvGrpSpPr>
              <a:grpSpLocks/>
            </p:cNvGrpSpPr>
            <p:nvPr>
              <p:custDataLst>
                <p:tags r:id="rId8"/>
              </p:custDataLst>
            </p:nvPr>
          </p:nvGrpSpPr>
          <p:grpSpPr bwMode="gray">
            <a:xfrm>
              <a:off x="350543" y="1132535"/>
              <a:ext cx="575439" cy="575439"/>
              <a:chOff x="2835" y="1202"/>
              <a:chExt cx="308" cy="30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95" name="Oval 26"/>
              <p:cNvSpPr>
                <a:spLocks noChangeArrowheads="1"/>
              </p:cNvSpPr>
              <p:nvPr/>
            </p:nvSpPr>
            <p:spPr bwMode="gray">
              <a:xfrm>
                <a:off x="2835" y="1202"/>
                <a:ext cx="308" cy="308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it-IT" sz="16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6" name="Freeform 27"/>
              <p:cNvSpPr>
                <a:spLocks/>
              </p:cNvSpPr>
              <p:nvPr/>
            </p:nvSpPr>
            <p:spPr bwMode="gray">
              <a:xfrm>
                <a:off x="2908" y="1280"/>
                <a:ext cx="172" cy="162"/>
              </a:xfrm>
              <a:custGeom>
                <a:avLst/>
                <a:gdLst/>
                <a:ahLst/>
                <a:cxnLst>
                  <a:cxn ang="0">
                    <a:pos x="333" y="0"/>
                  </a:cxn>
                  <a:cxn ang="0">
                    <a:pos x="342" y="12"/>
                  </a:cxn>
                  <a:cxn ang="0">
                    <a:pos x="224" y="135"/>
                  </a:cxn>
                  <a:cxn ang="0">
                    <a:pos x="126" y="290"/>
                  </a:cxn>
                  <a:cxn ang="0">
                    <a:pos x="108" y="302"/>
                  </a:cxn>
                  <a:cxn ang="0">
                    <a:pos x="77" y="326"/>
                  </a:cxn>
                  <a:cxn ang="0">
                    <a:pos x="63" y="287"/>
                  </a:cxn>
                  <a:cxn ang="0">
                    <a:pos x="56" y="271"/>
                  </a:cxn>
                  <a:cxn ang="0">
                    <a:pos x="28" y="220"/>
                  </a:cxn>
                  <a:cxn ang="0">
                    <a:pos x="0" y="198"/>
                  </a:cxn>
                  <a:cxn ang="0">
                    <a:pos x="49" y="170"/>
                  </a:cxn>
                  <a:cxn ang="0">
                    <a:pos x="91" y="222"/>
                  </a:cxn>
                  <a:cxn ang="0">
                    <a:pos x="98" y="239"/>
                  </a:cxn>
                  <a:cxn ang="0">
                    <a:pos x="205" y="102"/>
                  </a:cxn>
                  <a:cxn ang="0">
                    <a:pos x="333" y="0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rgbClr val="FF6600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it-IT" sz="1600" dirty="0">
                  <a:solidFill>
                    <a:srgbClr val="E95E0F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97" name="Gruppo 96"/>
          <p:cNvGrpSpPr/>
          <p:nvPr/>
        </p:nvGrpSpPr>
        <p:grpSpPr>
          <a:xfrm>
            <a:off x="251520" y="2542893"/>
            <a:ext cx="674462" cy="685668"/>
            <a:chOff x="251520" y="1042856"/>
            <a:chExt cx="792163" cy="792162"/>
          </a:xfrm>
        </p:grpSpPr>
        <p:sp>
          <p:nvSpPr>
            <p:cNvPr id="98" name="Ellipse 13"/>
            <p:cNvSpPr/>
            <p:nvPr/>
          </p:nvSpPr>
          <p:spPr bwMode="gray">
            <a:xfrm>
              <a:off x="251520" y="1042856"/>
              <a:ext cx="792163" cy="792162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t-IT" sz="1600" dirty="0" err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grpSp>
          <p:nvGrpSpPr>
            <p:cNvPr id="99" name="Group 25"/>
            <p:cNvGrpSpPr>
              <a:grpSpLocks/>
            </p:cNvGrpSpPr>
            <p:nvPr>
              <p:custDataLst>
                <p:tags r:id="rId7"/>
              </p:custDataLst>
            </p:nvPr>
          </p:nvGrpSpPr>
          <p:grpSpPr bwMode="gray">
            <a:xfrm>
              <a:off x="350543" y="1132535"/>
              <a:ext cx="575439" cy="575439"/>
              <a:chOff x="2835" y="1202"/>
              <a:chExt cx="308" cy="30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00" name="Oval 26"/>
              <p:cNvSpPr>
                <a:spLocks noChangeArrowheads="1"/>
              </p:cNvSpPr>
              <p:nvPr/>
            </p:nvSpPr>
            <p:spPr bwMode="gray">
              <a:xfrm>
                <a:off x="2835" y="1202"/>
                <a:ext cx="308" cy="308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it-IT" sz="16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1" name="Freeform 27"/>
              <p:cNvSpPr>
                <a:spLocks/>
              </p:cNvSpPr>
              <p:nvPr/>
            </p:nvSpPr>
            <p:spPr bwMode="gray">
              <a:xfrm>
                <a:off x="2908" y="1280"/>
                <a:ext cx="172" cy="162"/>
              </a:xfrm>
              <a:custGeom>
                <a:avLst/>
                <a:gdLst/>
                <a:ahLst/>
                <a:cxnLst>
                  <a:cxn ang="0">
                    <a:pos x="333" y="0"/>
                  </a:cxn>
                  <a:cxn ang="0">
                    <a:pos x="342" y="12"/>
                  </a:cxn>
                  <a:cxn ang="0">
                    <a:pos x="224" y="135"/>
                  </a:cxn>
                  <a:cxn ang="0">
                    <a:pos x="126" y="290"/>
                  </a:cxn>
                  <a:cxn ang="0">
                    <a:pos x="108" y="302"/>
                  </a:cxn>
                  <a:cxn ang="0">
                    <a:pos x="77" y="326"/>
                  </a:cxn>
                  <a:cxn ang="0">
                    <a:pos x="63" y="287"/>
                  </a:cxn>
                  <a:cxn ang="0">
                    <a:pos x="56" y="271"/>
                  </a:cxn>
                  <a:cxn ang="0">
                    <a:pos x="28" y="220"/>
                  </a:cxn>
                  <a:cxn ang="0">
                    <a:pos x="0" y="198"/>
                  </a:cxn>
                  <a:cxn ang="0">
                    <a:pos x="49" y="170"/>
                  </a:cxn>
                  <a:cxn ang="0">
                    <a:pos x="91" y="222"/>
                  </a:cxn>
                  <a:cxn ang="0">
                    <a:pos x="98" y="239"/>
                  </a:cxn>
                  <a:cxn ang="0">
                    <a:pos x="205" y="102"/>
                  </a:cxn>
                  <a:cxn ang="0">
                    <a:pos x="333" y="0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rgbClr val="FF6600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it-IT" sz="1600" dirty="0">
                  <a:solidFill>
                    <a:srgbClr val="E95E0F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102" name="Gruppo 101"/>
          <p:cNvGrpSpPr/>
          <p:nvPr/>
        </p:nvGrpSpPr>
        <p:grpSpPr>
          <a:xfrm>
            <a:off x="251520" y="3158691"/>
            <a:ext cx="674462" cy="685668"/>
            <a:chOff x="251520" y="1042856"/>
            <a:chExt cx="792163" cy="792162"/>
          </a:xfrm>
        </p:grpSpPr>
        <p:sp>
          <p:nvSpPr>
            <p:cNvPr id="103" name="Ellipse 13"/>
            <p:cNvSpPr/>
            <p:nvPr/>
          </p:nvSpPr>
          <p:spPr bwMode="gray">
            <a:xfrm>
              <a:off x="251520" y="1042856"/>
              <a:ext cx="792163" cy="792162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t-IT" sz="1600" dirty="0" err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grpSp>
          <p:nvGrpSpPr>
            <p:cNvPr id="104" name="Group 25"/>
            <p:cNvGrpSpPr>
              <a:grpSpLocks/>
            </p:cNvGrpSpPr>
            <p:nvPr>
              <p:custDataLst>
                <p:tags r:id="rId6"/>
              </p:custDataLst>
            </p:nvPr>
          </p:nvGrpSpPr>
          <p:grpSpPr bwMode="gray">
            <a:xfrm>
              <a:off x="350543" y="1132535"/>
              <a:ext cx="575439" cy="575439"/>
              <a:chOff x="2835" y="1202"/>
              <a:chExt cx="308" cy="30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05" name="Oval 26"/>
              <p:cNvSpPr>
                <a:spLocks noChangeArrowheads="1"/>
              </p:cNvSpPr>
              <p:nvPr/>
            </p:nvSpPr>
            <p:spPr bwMode="gray">
              <a:xfrm>
                <a:off x="2835" y="1202"/>
                <a:ext cx="308" cy="308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it-IT" sz="16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6" name="Freeform 27"/>
              <p:cNvSpPr>
                <a:spLocks/>
              </p:cNvSpPr>
              <p:nvPr/>
            </p:nvSpPr>
            <p:spPr bwMode="gray">
              <a:xfrm>
                <a:off x="2908" y="1280"/>
                <a:ext cx="172" cy="162"/>
              </a:xfrm>
              <a:custGeom>
                <a:avLst/>
                <a:gdLst/>
                <a:ahLst/>
                <a:cxnLst>
                  <a:cxn ang="0">
                    <a:pos x="333" y="0"/>
                  </a:cxn>
                  <a:cxn ang="0">
                    <a:pos x="342" y="12"/>
                  </a:cxn>
                  <a:cxn ang="0">
                    <a:pos x="224" y="135"/>
                  </a:cxn>
                  <a:cxn ang="0">
                    <a:pos x="126" y="290"/>
                  </a:cxn>
                  <a:cxn ang="0">
                    <a:pos x="108" y="302"/>
                  </a:cxn>
                  <a:cxn ang="0">
                    <a:pos x="77" y="326"/>
                  </a:cxn>
                  <a:cxn ang="0">
                    <a:pos x="63" y="287"/>
                  </a:cxn>
                  <a:cxn ang="0">
                    <a:pos x="56" y="271"/>
                  </a:cxn>
                  <a:cxn ang="0">
                    <a:pos x="28" y="220"/>
                  </a:cxn>
                  <a:cxn ang="0">
                    <a:pos x="0" y="198"/>
                  </a:cxn>
                  <a:cxn ang="0">
                    <a:pos x="49" y="170"/>
                  </a:cxn>
                  <a:cxn ang="0">
                    <a:pos x="91" y="222"/>
                  </a:cxn>
                  <a:cxn ang="0">
                    <a:pos x="98" y="239"/>
                  </a:cxn>
                  <a:cxn ang="0">
                    <a:pos x="205" y="102"/>
                  </a:cxn>
                  <a:cxn ang="0">
                    <a:pos x="333" y="0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rgbClr val="FF6600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it-IT" sz="1600" dirty="0">
                  <a:solidFill>
                    <a:srgbClr val="E95E0F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107" name="Gruppo 106"/>
          <p:cNvGrpSpPr/>
          <p:nvPr/>
        </p:nvGrpSpPr>
        <p:grpSpPr>
          <a:xfrm>
            <a:off x="251520" y="3770327"/>
            <a:ext cx="674462" cy="685668"/>
            <a:chOff x="251520" y="1042856"/>
            <a:chExt cx="792163" cy="792162"/>
          </a:xfrm>
        </p:grpSpPr>
        <p:sp>
          <p:nvSpPr>
            <p:cNvPr id="108" name="Ellipse 13"/>
            <p:cNvSpPr/>
            <p:nvPr/>
          </p:nvSpPr>
          <p:spPr bwMode="gray">
            <a:xfrm>
              <a:off x="251520" y="1042856"/>
              <a:ext cx="792163" cy="792162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t-IT" sz="1600" dirty="0" err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grpSp>
          <p:nvGrpSpPr>
            <p:cNvPr id="109" name="Group 25"/>
            <p:cNvGrpSpPr>
              <a:grpSpLocks/>
            </p:cNvGrpSpPr>
            <p:nvPr>
              <p:custDataLst>
                <p:tags r:id="rId5"/>
              </p:custDataLst>
            </p:nvPr>
          </p:nvGrpSpPr>
          <p:grpSpPr bwMode="gray">
            <a:xfrm>
              <a:off x="350543" y="1132535"/>
              <a:ext cx="575439" cy="575439"/>
              <a:chOff x="2835" y="1202"/>
              <a:chExt cx="308" cy="30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10" name="Oval 26"/>
              <p:cNvSpPr>
                <a:spLocks noChangeArrowheads="1"/>
              </p:cNvSpPr>
              <p:nvPr/>
            </p:nvSpPr>
            <p:spPr bwMode="gray">
              <a:xfrm>
                <a:off x="2835" y="1202"/>
                <a:ext cx="308" cy="308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it-IT" sz="16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1" name="Freeform 27"/>
              <p:cNvSpPr>
                <a:spLocks/>
              </p:cNvSpPr>
              <p:nvPr/>
            </p:nvSpPr>
            <p:spPr bwMode="gray">
              <a:xfrm>
                <a:off x="2908" y="1280"/>
                <a:ext cx="172" cy="162"/>
              </a:xfrm>
              <a:custGeom>
                <a:avLst/>
                <a:gdLst/>
                <a:ahLst/>
                <a:cxnLst>
                  <a:cxn ang="0">
                    <a:pos x="333" y="0"/>
                  </a:cxn>
                  <a:cxn ang="0">
                    <a:pos x="342" y="12"/>
                  </a:cxn>
                  <a:cxn ang="0">
                    <a:pos x="224" y="135"/>
                  </a:cxn>
                  <a:cxn ang="0">
                    <a:pos x="126" y="290"/>
                  </a:cxn>
                  <a:cxn ang="0">
                    <a:pos x="108" y="302"/>
                  </a:cxn>
                  <a:cxn ang="0">
                    <a:pos x="77" y="326"/>
                  </a:cxn>
                  <a:cxn ang="0">
                    <a:pos x="63" y="287"/>
                  </a:cxn>
                  <a:cxn ang="0">
                    <a:pos x="56" y="271"/>
                  </a:cxn>
                  <a:cxn ang="0">
                    <a:pos x="28" y="220"/>
                  </a:cxn>
                  <a:cxn ang="0">
                    <a:pos x="0" y="198"/>
                  </a:cxn>
                  <a:cxn ang="0">
                    <a:pos x="49" y="170"/>
                  </a:cxn>
                  <a:cxn ang="0">
                    <a:pos x="91" y="222"/>
                  </a:cxn>
                  <a:cxn ang="0">
                    <a:pos x="98" y="239"/>
                  </a:cxn>
                  <a:cxn ang="0">
                    <a:pos x="205" y="102"/>
                  </a:cxn>
                  <a:cxn ang="0">
                    <a:pos x="333" y="0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rgbClr val="FF6600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it-IT" sz="1600" dirty="0">
                  <a:solidFill>
                    <a:srgbClr val="E95E0F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122" name="Gruppo 121"/>
          <p:cNvGrpSpPr/>
          <p:nvPr/>
        </p:nvGrpSpPr>
        <p:grpSpPr>
          <a:xfrm>
            <a:off x="269740" y="4380689"/>
            <a:ext cx="674462" cy="685668"/>
            <a:chOff x="251520" y="1042856"/>
            <a:chExt cx="792163" cy="792162"/>
          </a:xfrm>
        </p:grpSpPr>
        <p:sp>
          <p:nvSpPr>
            <p:cNvPr id="123" name="Ellipse 13"/>
            <p:cNvSpPr/>
            <p:nvPr/>
          </p:nvSpPr>
          <p:spPr bwMode="gray">
            <a:xfrm>
              <a:off x="251520" y="1042856"/>
              <a:ext cx="792163" cy="792162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t-IT" sz="1600" dirty="0" err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grpSp>
          <p:nvGrpSpPr>
            <p:cNvPr id="124" name="Group 25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gray">
            <a:xfrm>
              <a:off x="350543" y="1132535"/>
              <a:ext cx="575439" cy="575439"/>
              <a:chOff x="2835" y="1202"/>
              <a:chExt cx="308" cy="30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25" name="Oval 26"/>
              <p:cNvSpPr>
                <a:spLocks noChangeArrowheads="1"/>
              </p:cNvSpPr>
              <p:nvPr/>
            </p:nvSpPr>
            <p:spPr bwMode="gray">
              <a:xfrm>
                <a:off x="2835" y="1202"/>
                <a:ext cx="308" cy="308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it-IT" sz="16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6" name="Freeform 27"/>
              <p:cNvSpPr>
                <a:spLocks/>
              </p:cNvSpPr>
              <p:nvPr/>
            </p:nvSpPr>
            <p:spPr bwMode="gray">
              <a:xfrm>
                <a:off x="2908" y="1280"/>
                <a:ext cx="172" cy="162"/>
              </a:xfrm>
              <a:custGeom>
                <a:avLst/>
                <a:gdLst/>
                <a:ahLst/>
                <a:cxnLst>
                  <a:cxn ang="0">
                    <a:pos x="333" y="0"/>
                  </a:cxn>
                  <a:cxn ang="0">
                    <a:pos x="342" y="12"/>
                  </a:cxn>
                  <a:cxn ang="0">
                    <a:pos x="224" y="135"/>
                  </a:cxn>
                  <a:cxn ang="0">
                    <a:pos x="126" y="290"/>
                  </a:cxn>
                  <a:cxn ang="0">
                    <a:pos x="108" y="302"/>
                  </a:cxn>
                  <a:cxn ang="0">
                    <a:pos x="77" y="326"/>
                  </a:cxn>
                  <a:cxn ang="0">
                    <a:pos x="63" y="287"/>
                  </a:cxn>
                  <a:cxn ang="0">
                    <a:pos x="56" y="271"/>
                  </a:cxn>
                  <a:cxn ang="0">
                    <a:pos x="28" y="220"/>
                  </a:cxn>
                  <a:cxn ang="0">
                    <a:pos x="0" y="198"/>
                  </a:cxn>
                  <a:cxn ang="0">
                    <a:pos x="49" y="170"/>
                  </a:cxn>
                  <a:cxn ang="0">
                    <a:pos x="91" y="222"/>
                  </a:cxn>
                  <a:cxn ang="0">
                    <a:pos x="98" y="239"/>
                  </a:cxn>
                  <a:cxn ang="0">
                    <a:pos x="205" y="102"/>
                  </a:cxn>
                  <a:cxn ang="0">
                    <a:pos x="333" y="0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rgbClr val="FF6600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it-IT" sz="1600" dirty="0">
                  <a:solidFill>
                    <a:srgbClr val="E95E0F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127" name="Gruppo 126"/>
          <p:cNvGrpSpPr/>
          <p:nvPr/>
        </p:nvGrpSpPr>
        <p:grpSpPr>
          <a:xfrm>
            <a:off x="269738" y="5625380"/>
            <a:ext cx="674462" cy="685668"/>
            <a:chOff x="251520" y="1042856"/>
            <a:chExt cx="792163" cy="792162"/>
          </a:xfrm>
        </p:grpSpPr>
        <p:sp>
          <p:nvSpPr>
            <p:cNvPr id="128" name="Ellipse 13"/>
            <p:cNvSpPr/>
            <p:nvPr/>
          </p:nvSpPr>
          <p:spPr bwMode="gray">
            <a:xfrm>
              <a:off x="251520" y="1042856"/>
              <a:ext cx="792163" cy="792162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t-IT" sz="1600" dirty="0" err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grpSp>
          <p:nvGrpSpPr>
            <p:cNvPr id="129" name="Group 25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gray">
            <a:xfrm>
              <a:off x="350543" y="1132535"/>
              <a:ext cx="575439" cy="575439"/>
              <a:chOff x="2835" y="1202"/>
              <a:chExt cx="308" cy="30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30" name="Oval 26"/>
              <p:cNvSpPr>
                <a:spLocks noChangeArrowheads="1"/>
              </p:cNvSpPr>
              <p:nvPr/>
            </p:nvSpPr>
            <p:spPr bwMode="gray">
              <a:xfrm>
                <a:off x="2835" y="1202"/>
                <a:ext cx="308" cy="308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it-IT" sz="16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1" name="Freeform 27"/>
              <p:cNvSpPr>
                <a:spLocks/>
              </p:cNvSpPr>
              <p:nvPr/>
            </p:nvSpPr>
            <p:spPr bwMode="gray">
              <a:xfrm>
                <a:off x="2908" y="1280"/>
                <a:ext cx="172" cy="162"/>
              </a:xfrm>
              <a:custGeom>
                <a:avLst/>
                <a:gdLst/>
                <a:ahLst/>
                <a:cxnLst>
                  <a:cxn ang="0">
                    <a:pos x="333" y="0"/>
                  </a:cxn>
                  <a:cxn ang="0">
                    <a:pos x="342" y="12"/>
                  </a:cxn>
                  <a:cxn ang="0">
                    <a:pos x="224" y="135"/>
                  </a:cxn>
                  <a:cxn ang="0">
                    <a:pos x="126" y="290"/>
                  </a:cxn>
                  <a:cxn ang="0">
                    <a:pos x="108" y="302"/>
                  </a:cxn>
                  <a:cxn ang="0">
                    <a:pos x="77" y="326"/>
                  </a:cxn>
                  <a:cxn ang="0">
                    <a:pos x="63" y="287"/>
                  </a:cxn>
                  <a:cxn ang="0">
                    <a:pos x="56" y="271"/>
                  </a:cxn>
                  <a:cxn ang="0">
                    <a:pos x="28" y="220"/>
                  </a:cxn>
                  <a:cxn ang="0">
                    <a:pos x="0" y="198"/>
                  </a:cxn>
                  <a:cxn ang="0">
                    <a:pos x="49" y="170"/>
                  </a:cxn>
                  <a:cxn ang="0">
                    <a:pos x="91" y="222"/>
                  </a:cxn>
                  <a:cxn ang="0">
                    <a:pos x="98" y="239"/>
                  </a:cxn>
                  <a:cxn ang="0">
                    <a:pos x="205" y="102"/>
                  </a:cxn>
                  <a:cxn ang="0">
                    <a:pos x="333" y="0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rgbClr val="FF6600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it-IT" sz="1600" dirty="0">
                  <a:solidFill>
                    <a:srgbClr val="E95E0F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63" name="Gruppo 62"/>
          <p:cNvGrpSpPr/>
          <p:nvPr/>
        </p:nvGrpSpPr>
        <p:grpSpPr>
          <a:xfrm>
            <a:off x="254562" y="4974508"/>
            <a:ext cx="674462" cy="685668"/>
            <a:chOff x="251520" y="1042856"/>
            <a:chExt cx="792163" cy="792162"/>
          </a:xfrm>
        </p:grpSpPr>
        <p:sp>
          <p:nvSpPr>
            <p:cNvPr id="64" name="Ellipse 13"/>
            <p:cNvSpPr/>
            <p:nvPr/>
          </p:nvSpPr>
          <p:spPr bwMode="gray">
            <a:xfrm>
              <a:off x="251520" y="1042856"/>
              <a:ext cx="792163" cy="792162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t-IT" sz="1600" dirty="0" err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grpSp>
          <p:nvGrpSpPr>
            <p:cNvPr id="65" name="Group 25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gray">
            <a:xfrm>
              <a:off x="350543" y="1132535"/>
              <a:ext cx="575439" cy="575439"/>
              <a:chOff x="2835" y="1202"/>
              <a:chExt cx="308" cy="30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66" name="Oval 26"/>
              <p:cNvSpPr>
                <a:spLocks noChangeArrowheads="1"/>
              </p:cNvSpPr>
              <p:nvPr/>
            </p:nvSpPr>
            <p:spPr bwMode="gray">
              <a:xfrm>
                <a:off x="2835" y="1202"/>
                <a:ext cx="308" cy="308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it-IT" sz="16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7" name="Freeform 27"/>
              <p:cNvSpPr>
                <a:spLocks/>
              </p:cNvSpPr>
              <p:nvPr/>
            </p:nvSpPr>
            <p:spPr bwMode="gray">
              <a:xfrm>
                <a:off x="2908" y="1280"/>
                <a:ext cx="172" cy="162"/>
              </a:xfrm>
              <a:custGeom>
                <a:avLst/>
                <a:gdLst/>
                <a:ahLst/>
                <a:cxnLst>
                  <a:cxn ang="0">
                    <a:pos x="333" y="0"/>
                  </a:cxn>
                  <a:cxn ang="0">
                    <a:pos x="342" y="12"/>
                  </a:cxn>
                  <a:cxn ang="0">
                    <a:pos x="224" y="135"/>
                  </a:cxn>
                  <a:cxn ang="0">
                    <a:pos x="126" y="290"/>
                  </a:cxn>
                  <a:cxn ang="0">
                    <a:pos x="108" y="302"/>
                  </a:cxn>
                  <a:cxn ang="0">
                    <a:pos x="77" y="326"/>
                  </a:cxn>
                  <a:cxn ang="0">
                    <a:pos x="63" y="287"/>
                  </a:cxn>
                  <a:cxn ang="0">
                    <a:pos x="56" y="271"/>
                  </a:cxn>
                  <a:cxn ang="0">
                    <a:pos x="28" y="220"/>
                  </a:cxn>
                  <a:cxn ang="0">
                    <a:pos x="0" y="198"/>
                  </a:cxn>
                  <a:cxn ang="0">
                    <a:pos x="49" y="170"/>
                  </a:cxn>
                  <a:cxn ang="0">
                    <a:pos x="91" y="222"/>
                  </a:cxn>
                  <a:cxn ang="0">
                    <a:pos x="98" y="239"/>
                  </a:cxn>
                  <a:cxn ang="0">
                    <a:pos x="205" y="102"/>
                  </a:cxn>
                  <a:cxn ang="0">
                    <a:pos x="333" y="0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rgbClr val="FF6600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it-IT" sz="1600" dirty="0">
                  <a:solidFill>
                    <a:srgbClr val="E95E0F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132" name="Rectangle 5"/>
          <p:cNvSpPr>
            <a:spLocks noChangeArrowheads="1"/>
          </p:cNvSpPr>
          <p:nvPr/>
        </p:nvSpPr>
        <p:spPr bwMode="gray">
          <a:xfrm>
            <a:off x="895760" y="5176731"/>
            <a:ext cx="7816564" cy="370432"/>
          </a:xfrm>
          <a:prstGeom prst="rect">
            <a:avLst/>
          </a:prstGeom>
          <a:solidFill>
            <a:srgbClr val="E95E0F"/>
          </a:solidFill>
          <a:ln>
            <a:noFill/>
          </a:ln>
          <a:extLst/>
        </p:spPr>
        <p:txBody>
          <a:bodyPr lIns="504000" tIns="46800" rIns="90000" bIns="46800" anchor="ctr"/>
          <a:lstStyle/>
          <a:p>
            <a:pPr fontAlgn="base">
              <a:spcBef>
                <a:spcPct val="0"/>
              </a:spcBef>
              <a:spcAft>
                <a:spcPct val="20000"/>
              </a:spcAft>
            </a:pPr>
            <a:endParaRPr lang="it-IT" sz="1600" noProof="1" smtClean="0">
              <a:solidFill>
                <a:schemeClr val="bg1"/>
              </a:solidFill>
              <a:latin typeface="Century Gothic" panose="020B0502020202020204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20000"/>
              </a:spcAft>
            </a:pPr>
            <a:r>
              <a:rPr lang="it-IT" sz="1600" noProof="1" smtClean="0">
                <a:solidFill>
                  <a:schemeClr val="bg1"/>
                </a:solidFill>
                <a:latin typeface="Century Gothic" panose="020B0502020202020204" pitchFamily="34" charset="0"/>
                <a:cs typeface="Arial" pitchFamily="34" charset="0"/>
              </a:rPr>
              <a:t>Il confronto tra i risultati nazionali e regionali </a:t>
            </a:r>
          </a:p>
          <a:p>
            <a:pPr fontAlgn="base">
              <a:spcBef>
                <a:spcPct val="0"/>
              </a:spcBef>
              <a:spcAft>
                <a:spcPct val="20000"/>
              </a:spcAft>
            </a:pPr>
            <a:r>
              <a:rPr lang="it-IT" sz="1600" noProof="1" smtClean="0">
                <a:solidFill>
                  <a:schemeClr val="bg1"/>
                </a:solidFill>
                <a:latin typeface="Century Gothic" panose="020B0502020202020204" pitchFamily="34" charset="0"/>
                <a:cs typeface="Arial" pitchFamily="34" charset="0"/>
              </a:rPr>
              <a:t>                                                                50</a:t>
            </a:r>
            <a:endParaRPr lang="it-IT" sz="1600" noProof="1">
              <a:solidFill>
                <a:schemeClr val="bg1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grpSp>
        <p:nvGrpSpPr>
          <p:cNvPr id="133" name="Gruppo 132"/>
          <p:cNvGrpSpPr/>
          <p:nvPr/>
        </p:nvGrpSpPr>
        <p:grpSpPr>
          <a:xfrm>
            <a:off x="243568" y="1326854"/>
            <a:ext cx="674462" cy="685668"/>
            <a:chOff x="251520" y="1042856"/>
            <a:chExt cx="792163" cy="792162"/>
          </a:xfrm>
        </p:grpSpPr>
        <p:sp>
          <p:nvSpPr>
            <p:cNvPr id="134" name="Ellipse 13"/>
            <p:cNvSpPr/>
            <p:nvPr/>
          </p:nvSpPr>
          <p:spPr bwMode="gray">
            <a:xfrm>
              <a:off x="251520" y="1042856"/>
              <a:ext cx="792163" cy="792162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t-IT" sz="1600" dirty="0" err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grpSp>
          <p:nvGrpSpPr>
            <p:cNvPr id="135" name="Group 25"/>
            <p:cNvGrpSpPr>
              <a:grpSpLocks/>
            </p:cNvGrpSpPr>
            <p:nvPr>
              <p:custDataLst>
                <p:tags r:id="rId1"/>
              </p:custDataLst>
            </p:nvPr>
          </p:nvGrpSpPr>
          <p:grpSpPr bwMode="gray">
            <a:xfrm>
              <a:off x="350543" y="1132535"/>
              <a:ext cx="575439" cy="575439"/>
              <a:chOff x="2835" y="1202"/>
              <a:chExt cx="308" cy="30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36" name="Oval 26"/>
              <p:cNvSpPr>
                <a:spLocks noChangeArrowheads="1"/>
              </p:cNvSpPr>
              <p:nvPr/>
            </p:nvSpPr>
            <p:spPr bwMode="gray">
              <a:xfrm>
                <a:off x="2835" y="1202"/>
                <a:ext cx="308" cy="308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it-IT" sz="16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7" name="Freeform 27"/>
              <p:cNvSpPr>
                <a:spLocks/>
              </p:cNvSpPr>
              <p:nvPr/>
            </p:nvSpPr>
            <p:spPr bwMode="gray">
              <a:xfrm>
                <a:off x="2908" y="1280"/>
                <a:ext cx="172" cy="162"/>
              </a:xfrm>
              <a:custGeom>
                <a:avLst/>
                <a:gdLst/>
                <a:ahLst/>
                <a:cxnLst>
                  <a:cxn ang="0">
                    <a:pos x="333" y="0"/>
                  </a:cxn>
                  <a:cxn ang="0">
                    <a:pos x="342" y="12"/>
                  </a:cxn>
                  <a:cxn ang="0">
                    <a:pos x="224" y="135"/>
                  </a:cxn>
                  <a:cxn ang="0">
                    <a:pos x="126" y="290"/>
                  </a:cxn>
                  <a:cxn ang="0">
                    <a:pos x="108" y="302"/>
                  </a:cxn>
                  <a:cxn ang="0">
                    <a:pos x="77" y="326"/>
                  </a:cxn>
                  <a:cxn ang="0">
                    <a:pos x="63" y="287"/>
                  </a:cxn>
                  <a:cxn ang="0">
                    <a:pos x="56" y="271"/>
                  </a:cxn>
                  <a:cxn ang="0">
                    <a:pos x="28" y="220"/>
                  </a:cxn>
                  <a:cxn ang="0">
                    <a:pos x="0" y="198"/>
                  </a:cxn>
                  <a:cxn ang="0">
                    <a:pos x="49" y="170"/>
                  </a:cxn>
                  <a:cxn ang="0">
                    <a:pos x="91" y="222"/>
                  </a:cxn>
                  <a:cxn ang="0">
                    <a:pos x="98" y="239"/>
                  </a:cxn>
                  <a:cxn ang="0">
                    <a:pos x="205" y="102"/>
                  </a:cxn>
                  <a:cxn ang="0">
                    <a:pos x="333" y="0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rgbClr val="FF6600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it-IT" sz="1600" dirty="0">
                  <a:solidFill>
                    <a:srgbClr val="E95E0F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57" name="Segnaposto numero diapositiva 4"/>
          <p:cNvSpPr>
            <a:spLocks noGrp="1"/>
          </p:cNvSpPr>
          <p:nvPr>
            <p:ph type="sldNum" sz="quarter" idx="4"/>
          </p:nvPr>
        </p:nvSpPr>
        <p:spPr>
          <a:xfrm>
            <a:off x="6240305" y="6237312"/>
            <a:ext cx="2940207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0CFC42-A5FC-4A7F-BE59-040792774089}" type="slidenum">
              <a:rPr lang="it-IT" smtClean="0"/>
              <a:t>2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57753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/>
          </p:cNvSpPr>
          <p:nvPr/>
        </p:nvSpPr>
        <p:spPr>
          <a:xfrm>
            <a:off x="108495" y="260648"/>
            <a:ext cx="763185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 smtClean="0">
                <a:solidFill>
                  <a:srgbClr val="E95E0F"/>
                </a:solidFill>
              </a:rPr>
              <a:t>La sicurezza della propria attività: le iniziative più efficaci</a:t>
            </a:r>
          </a:p>
        </p:txBody>
      </p:sp>
      <p:sp>
        <p:nvSpPr>
          <p:cNvPr id="9" name="Rettangolo 8"/>
          <p:cNvSpPr/>
          <p:nvPr/>
        </p:nvSpPr>
        <p:spPr>
          <a:xfrm>
            <a:off x="32040" y="908348"/>
            <a:ext cx="900445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000" i="1" dirty="0">
                <a:solidFill>
                  <a:srgbClr val="928580">
                    <a:lumMod val="50000"/>
                  </a:srgbClr>
                </a:solidFill>
                <a:latin typeface="Century Gothic" pitchFamily="34" charset="0"/>
              </a:rPr>
              <a:t>Quali iniziative tra quelle indicate ritiene più efficaci per la sicurezza della sua impresa</a:t>
            </a:r>
            <a:r>
              <a:rPr lang="it-IT" sz="1000" i="1" dirty="0" smtClean="0">
                <a:solidFill>
                  <a:srgbClr val="928580">
                    <a:lumMod val="50000"/>
                  </a:srgbClr>
                </a:solidFill>
                <a:latin typeface="Century Gothic" pitchFamily="34" charset="0"/>
              </a:rPr>
              <a:t>?</a:t>
            </a:r>
          </a:p>
          <a:p>
            <a:r>
              <a:rPr lang="it-IT" sz="1000" i="1" dirty="0" smtClean="0">
                <a:solidFill>
                  <a:srgbClr val="928580">
                    <a:lumMod val="50000"/>
                  </a:srgbClr>
                </a:solidFill>
                <a:latin typeface="Century Gothic" pitchFamily="34" charset="0"/>
              </a:rPr>
              <a:t>(</a:t>
            </a:r>
            <a:r>
              <a:rPr lang="it-IT" sz="1000" i="1" dirty="0">
                <a:solidFill>
                  <a:srgbClr val="928580">
                    <a:lumMod val="50000"/>
                  </a:srgbClr>
                </a:solidFill>
                <a:latin typeface="Century Gothic" pitchFamily="34" charset="0"/>
              </a:rPr>
              <a:t>base = </a:t>
            </a:r>
            <a:r>
              <a:rPr lang="it-IT" sz="1000" i="1" dirty="0" smtClean="0">
                <a:solidFill>
                  <a:srgbClr val="928580">
                    <a:lumMod val="50000"/>
                  </a:srgbClr>
                </a:solidFill>
                <a:latin typeface="Century Gothic" pitchFamily="34" charset="0"/>
              </a:rPr>
              <a:t>totale campione, n= 5880)</a:t>
            </a:r>
            <a:endParaRPr lang="it-IT" sz="1000" dirty="0">
              <a:solidFill>
                <a:srgbClr val="928580">
                  <a:lumMod val="50000"/>
                </a:srgbClr>
              </a:solidFill>
            </a:endParaRPr>
          </a:p>
        </p:txBody>
      </p:sp>
      <p:graphicFrame>
        <p:nvGraphicFramePr>
          <p:cNvPr id="20" name="Grafico 19"/>
          <p:cNvGraphicFramePr/>
          <p:nvPr>
            <p:extLst>
              <p:ext uri="{D42A27DB-BD31-4B8C-83A1-F6EECF244321}">
                <p14:modId xmlns:p14="http://schemas.microsoft.com/office/powerpoint/2010/main" val="3574240831"/>
              </p:ext>
            </p:extLst>
          </p:nvPr>
        </p:nvGraphicFramePr>
        <p:xfrm>
          <a:off x="3124725" y="2586218"/>
          <a:ext cx="5623739" cy="3867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2" name="Tabella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727382"/>
              </p:ext>
            </p:extLst>
          </p:nvPr>
        </p:nvGraphicFramePr>
        <p:xfrm>
          <a:off x="1691680" y="2634312"/>
          <a:ext cx="2448272" cy="33348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8272"/>
              </a:tblGrid>
              <a:tr h="476409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Maggior protezione sul territorio da parte delle forze dell'ordine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76409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  certezza della pena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76409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  maggior</a:t>
                      </a:r>
                      <a:r>
                        <a:rPr lang="it-IT" sz="110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</a:t>
                      </a:r>
                      <a:r>
                        <a:rPr lang="it-IT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collaborazione con le forze dell'ordine</a:t>
                      </a:r>
                      <a:endParaRPr lang="it-IT" sz="1100" b="0" i="1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76409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  interventi di enti locali per poliziotti di quartiere/polizia locale</a:t>
                      </a:r>
                      <a:endParaRPr lang="it-IT" sz="1100" b="0" i="1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76409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  maggiori interventi delle associazioni di categoria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76409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  associazionismo antiracket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76409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…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4" name="Rettangolo 23"/>
          <p:cNvSpPr/>
          <p:nvPr/>
        </p:nvSpPr>
        <p:spPr bwMode="gray">
          <a:xfrm>
            <a:off x="2915816" y="1484784"/>
            <a:ext cx="3728640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600" i="1" u="sng" dirty="0" smtClean="0">
                <a:solidFill>
                  <a:srgbClr val="000000"/>
                </a:solidFill>
              </a:rPr>
              <a:t>Le iniziative ritenute più efficaci per la sicurezza della propria impresa</a:t>
            </a:r>
          </a:p>
        </p:txBody>
      </p:sp>
      <p:sp>
        <p:nvSpPr>
          <p:cNvPr id="16" name="Text Box 8"/>
          <p:cNvSpPr txBox="1">
            <a:spLocks noChangeArrowheads="1"/>
          </p:cNvSpPr>
          <p:nvPr/>
        </p:nvSpPr>
        <p:spPr bwMode="auto">
          <a:xfrm>
            <a:off x="4751302" y="2276872"/>
            <a:ext cx="358775" cy="212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ctr">
            <a:spAutoFit/>
          </a:bodyPr>
          <a:lstStyle/>
          <a:p>
            <a:pPr algn="ctr">
              <a:defRPr/>
            </a:pPr>
            <a:r>
              <a:rPr lang="it-IT" sz="1400" i="1" dirty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cs typeface="Arial" charset="0"/>
              </a:rPr>
              <a:t>%</a:t>
            </a:r>
          </a:p>
        </p:txBody>
      </p:sp>
      <p:sp>
        <p:nvSpPr>
          <p:cNvPr id="14" name="Rettangolo 13"/>
          <p:cNvSpPr/>
          <p:nvPr/>
        </p:nvSpPr>
        <p:spPr bwMode="gray">
          <a:xfrm>
            <a:off x="-36512" y="1982934"/>
            <a:ext cx="1584176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Ind. 2007</a:t>
            </a:r>
          </a:p>
        </p:txBody>
      </p:sp>
      <p:sp>
        <p:nvSpPr>
          <p:cNvPr id="15" name="Rettangolo 14"/>
          <p:cNvSpPr/>
          <p:nvPr/>
        </p:nvSpPr>
        <p:spPr bwMode="gray">
          <a:xfrm>
            <a:off x="522497" y="2608972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50</a:t>
            </a:r>
          </a:p>
        </p:txBody>
      </p:sp>
      <p:sp>
        <p:nvSpPr>
          <p:cNvPr id="17" name="Rettangolo 16"/>
          <p:cNvSpPr/>
          <p:nvPr/>
        </p:nvSpPr>
        <p:spPr bwMode="gray">
          <a:xfrm>
            <a:off x="522497" y="3041020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53</a:t>
            </a:r>
          </a:p>
        </p:txBody>
      </p:sp>
      <p:sp>
        <p:nvSpPr>
          <p:cNvPr id="26" name="Rettangolo 25"/>
          <p:cNvSpPr/>
          <p:nvPr/>
        </p:nvSpPr>
        <p:spPr bwMode="gray">
          <a:xfrm>
            <a:off x="528535" y="3584033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35</a:t>
            </a:r>
          </a:p>
        </p:txBody>
      </p:sp>
      <p:sp>
        <p:nvSpPr>
          <p:cNvPr id="27" name="Rettangolo 26"/>
          <p:cNvSpPr/>
          <p:nvPr/>
        </p:nvSpPr>
        <p:spPr bwMode="gray">
          <a:xfrm>
            <a:off x="528535" y="4049132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21</a:t>
            </a:r>
          </a:p>
        </p:txBody>
      </p:sp>
      <p:sp>
        <p:nvSpPr>
          <p:cNvPr id="28" name="Rettangolo 27"/>
          <p:cNvSpPr/>
          <p:nvPr/>
        </p:nvSpPr>
        <p:spPr bwMode="gray">
          <a:xfrm>
            <a:off x="528535" y="4536265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err="1" smtClean="0">
                <a:solidFill>
                  <a:srgbClr val="E95E0F"/>
                </a:solidFill>
              </a:rPr>
              <a:t>n.d.</a:t>
            </a:r>
            <a:endParaRPr lang="it-IT" sz="1400" i="1" dirty="0" smtClean="0">
              <a:solidFill>
                <a:srgbClr val="E95E0F"/>
              </a:solidFill>
            </a:endParaRPr>
          </a:p>
        </p:txBody>
      </p:sp>
      <p:sp>
        <p:nvSpPr>
          <p:cNvPr id="30" name="Rettangolo 29"/>
          <p:cNvSpPr/>
          <p:nvPr/>
        </p:nvSpPr>
        <p:spPr bwMode="gray">
          <a:xfrm>
            <a:off x="528535" y="5018287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5</a:t>
            </a:r>
          </a:p>
        </p:txBody>
      </p:sp>
      <p:sp>
        <p:nvSpPr>
          <p:cNvPr id="18" name="Text Box 9"/>
          <p:cNvSpPr txBox="1">
            <a:spLocks noChangeArrowheads="1"/>
          </p:cNvSpPr>
          <p:nvPr/>
        </p:nvSpPr>
        <p:spPr bwMode="auto">
          <a:xfrm>
            <a:off x="1979712" y="5652537"/>
            <a:ext cx="6480720" cy="58477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wrap="square">
            <a:spAutoFit/>
          </a:bodyPr>
          <a:lstStyle>
            <a:defPPr>
              <a:defRPr lang="it-IT"/>
            </a:defPPr>
            <a:lvl1pPr algn="ctr">
              <a:defRPr sz="1600">
                <a:solidFill>
                  <a:srgbClr val="000000"/>
                </a:solidFill>
                <a:latin typeface="Century Gothic" pitchFamily="34" charset="0"/>
              </a:defRPr>
            </a:lvl1pPr>
          </a:lstStyle>
          <a:p>
            <a:r>
              <a:rPr lang="it-IT" i="1" dirty="0" smtClean="0">
                <a:solidFill>
                  <a:srgbClr val="E95E0F"/>
                </a:solidFill>
              </a:rPr>
              <a:t>Rispetto al passato  aumenta la richiesta di protezione sul territorio da parte delle forze dell’ordine </a:t>
            </a:r>
          </a:p>
        </p:txBody>
      </p:sp>
    </p:spTree>
    <p:extLst>
      <p:ext uri="{BB962C8B-B14F-4D97-AF65-F5344CB8AC3E}">
        <p14:creationId xmlns:p14="http://schemas.microsoft.com/office/powerpoint/2010/main" val="4076853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323850" y="1988691"/>
            <a:ext cx="8496300" cy="1584325"/>
          </a:xfrm>
        </p:spPr>
        <p:txBody>
          <a:bodyPr/>
          <a:lstStyle/>
          <a:p>
            <a:r>
              <a:rPr lang="it-IT" dirty="0" smtClean="0">
                <a:latin typeface="Century Gothic" panose="020B0502020202020204" pitchFamily="34" charset="0"/>
              </a:rPr>
              <a:t>I problemi del territorio</a:t>
            </a:r>
            <a:endParaRPr lang="it-IT" dirty="0">
              <a:latin typeface="Century Gothic" panose="020B0502020202020204" pitchFamily="34" charset="0"/>
            </a:endParaRPr>
          </a:p>
        </p:txBody>
      </p:sp>
      <p:grpSp>
        <p:nvGrpSpPr>
          <p:cNvPr id="4" name="Gruppo 3"/>
          <p:cNvGrpSpPr/>
          <p:nvPr/>
        </p:nvGrpSpPr>
        <p:grpSpPr>
          <a:xfrm>
            <a:off x="-18000" y="5381751"/>
            <a:ext cx="9180000" cy="1476249"/>
            <a:chOff x="-15129" y="1545126"/>
            <a:chExt cx="14893201" cy="1476249"/>
          </a:xfrm>
        </p:grpSpPr>
        <p:pic>
          <p:nvPicPr>
            <p:cNvPr id="5" name="Immagine 4"/>
            <p:cNvPicPr preferRelativeResize="0">
              <a:picLocks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15129" y="1552575"/>
              <a:ext cx="2484000" cy="1468800"/>
            </a:xfrm>
            <a:prstGeom prst="rect">
              <a:avLst/>
            </a:prstGeom>
          </p:spPr>
        </p:pic>
        <p:pic>
          <p:nvPicPr>
            <p:cNvPr id="6" name="Immagine 5"/>
            <p:cNvPicPr preferRelativeResize="0">
              <a:picLocks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11321" y="1545127"/>
              <a:ext cx="2482751" cy="1468800"/>
            </a:xfrm>
            <a:prstGeom prst="rect">
              <a:avLst/>
            </a:prstGeom>
          </p:spPr>
        </p:pic>
        <p:pic>
          <p:nvPicPr>
            <p:cNvPr id="7" name="Immagine 6"/>
            <p:cNvPicPr preferRelativeResize="0">
              <a:picLocks/>
            </p:cNvPicPr>
            <p:nvPr/>
          </p:nvPicPr>
          <p:blipFill rotWithShape="1">
            <a:blip r:embed="rId4"/>
            <a:srcRect r="5847" b="12367"/>
            <a:stretch/>
          </p:blipFill>
          <p:spPr>
            <a:xfrm>
              <a:off x="4942072" y="1545126"/>
              <a:ext cx="2484000" cy="1468800"/>
            </a:xfrm>
            <a:prstGeom prst="rect">
              <a:avLst/>
            </a:prstGeom>
          </p:spPr>
        </p:pic>
        <p:pic>
          <p:nvPicPr>
            <p:cNvPr id="8" name="Immagine 7"/>
            <p:cNvPicPr preferRelativeResize="0">
              <a:picLocks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2394072" y="1545127"/>
              <a:ext cx="2484000" cy="1468800"/>
            </a:xfrm>
            <a:prstGeom prst="rect">
              <a:avLst/>
            </a:prstGeom>
          </p:spPr>
        </p:pic>
        <p:pic>
          <p:nvPicPr>
            <p:cNvPr id="9" name="Immagine 8"/>
            <p:cNvPicPr preferRelativeResize="0">
              <a:picLocks/>
            </p:cNvPicPr>
            <p:nvPr/>
          </p:nvPicPr>
          <p:blipFill rotWithShape="1">
            <a:blip r:embed="rId6"/>
            <a:srcRect t="7046" b="4812"/>
            <a:stretch/>
          </p:blipFill>
          <p:spPr>
            <a:xfrm>
              <a:off x="7426072" y="1545127"/>
              <a:ext cx="2484000" cy="1469308"/>
            </a:xfrm>
            <a:prstGeom prst="rect">
              <a:avLst/>
            </a:prstGeom>
          </p:spPr>
        </p:pic>
        <p:pic>
          <p:nvPicPr>
            <p:cNvPr id="10" name="Immagine 9"/>
            <p:cNvPicPr preferRelativeResize="0">
              <a:picLocks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53641" y="1545127"/>
              <a:ext cx="2484000" cy="1468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6271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Grafico 5"/>
          <p:cNvGraphicFramePr/>
          <p:nvPr>
            <p:extLst>
              <p:ext uri="{D42A27DB-BD31-4B8C-83A1-F6EECF244321}">
                <p14:modId xmlns:p14="http://schemas.microsoft.com/office/powerpoint/2010/main" val="3359758482"/>
              </p:ext>
            </p:extLst>
          </p:nvPr>
        </p:nvGraphicFramePr>
        <p:xfrm>
          <a:off x="462646" y="2802242"/>
          <a:ext cx="5623739" cy="35070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Tabel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2616151"/>
              </p:ext>
            </p:extLst>
          </p:nvPr>
        </p:nvGraphicFramePr>
        <p:xfrm>
          <a:off x="-972616" y="2852936"/>
          <a:ext cx="2448272" cy="23762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8272"/>
              </a:tblGrid>
              <a:tr h="763339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I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63339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O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49586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ON RISPONDE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Rectangle 2"/>
          <p:cNvSpPr txBox="1">
            <a:spLocks/>
          </p:cNvSpPr>
          <p:nvPr/>
        </p:nvSpPr>
        <p:spPr>
          <a:xfrm>
            <a:off x="180503" y="260648"/>
            <a:ext cx="763185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 smtClean="0"/>
              <a:t>Il fenomeno del TACCHEGGIO </a:t>
            </a:r>
            <a:endParaRPr lang="it-IT" dirty="0"/>
          </a:p>
        </p:txBody>
      </p:sp>
      <p:sp>
        <p:nvSpPr>
          <p:cNvPr id="10" name="Rettangolo 9"/>
          <p:cNvSpPr/>
          <p:nvPr/>
        </p:nvSpPr>
        <p:spPr>
          <a:xfrm>
            <a:off x="32818" y="930786"/>
            <a:ext cx="893166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000" i="1" dirty="0">
                <a:solidFill>
                  <a:srgbClr val="928580">
                    <a:lumMod val="50000"/>
                  </a:srgbClr>
                </a:solidFill>
                <a:latin typeface="Century Gothic" pitchFamily="34" charset="0"/>
              </a:rPr>
              <a:t> La Sua attività è soggetta a fenomeni di taccheggio? Cioè si verificano furti di merce esposta nel suo esercizio commerciale da parte di frequentatori/visitatori/clienti? </a:t>
            </a:r>
            <a:endParaRPr lang="it-IT" sz="1000" i="1" dirty="0" smtClean="0">
              <a:solidFill>
                <a:srgbClr val="928580">
                  <a:lumMod val="50000"/>
                </a:srgbClr>
              </a:solidFill>
              <a:latin typeface="Century Gothic" pitchFamily="34" charset="0"/>
            </a:endParaRPr>
          </a:p>
          <a:p>
            <a:r>
              <a:rPr lang="it-IT" sz="1000" i="1" dirty="0" smtClean="0">
                <a:solidFill>
                  <a:srgbClr val="928580">
                    <a:lumMod val="50000"/>
                  </a:srgbClr>
                </a:solidFill>
                <a:latin typeface="Century Gothic" pitchFamily="34" charset="0"/>
              </a:rPr>
              <a:t>(</a:t>
            </a:r>
            <a:r>
              <a:rPr lang="it-IT" sz="1000" i="1" dirty="0">
                <a:solidFill>
                  <a:srgbClr val="928580">
                    <a:lumMod val="50000"/>
                  </a:srgbClr>
                </a:solidFill>
                <a:latin typeface="Century Gothic" pitchFamily="34" charset="0"/>
              </a:rPr>
              <a:t>base = </a:t>
            </a:r>
            <a:r>
              <a:rPr lang="it-IT" sz="1000" i="1" dirty="0" smtClean="0">
                <a:solidFill>
                  <a:srgbClr val="928580">
                    <a:lumMod val="50000"/>
                  </a:srgbClr>
                </a:solidFill>
                <a:latin typeface="Century Gothic" pitchFamily="34" charset="0"/>
              </a:rPr>
              <a:t>totale campione, n= 5880)</a:t>
            </a:r>
            <a:endParaRPr lang="it-IT" sz="1000" dirty="0" smtClean="0">
              <a:solidFill>
                <a:srgbClr val="928580">
                  <a:lumMod val="50000"/>
                </a:srgbClr>
              </a:solidFill>
            </a:endParaRPr>
          </a:p>
          <a:p>
            <a:endParaRPr lang="it-IT" sz="1000" dirty="0">
              <a:solidFill>
                <a:srgbClr val="928580">
                  <a:lumMod val="50000"/>
                </a:srgbClr>
              </a:solidFill>
            </a:endParaRPr>
          </a:p>
        </p:txBody>
      </p:sp>
      <p:sp>
        <p:nvSpPr>
          <p:cNvPr id="11" name="Text Box 8"/>
          <p:cNvSpPr txBox="1">
            <a:spLocks noChangeArrowheads="1"/>
          </p:cNvSpPr>
          <p:nvPr/>
        </p:nvSpPr>
        <p:spPr bwMode="auto">
          <a:xfrm>
            <a:off x="1835696" y="2492896"/>
            <a:ext cx="358775" cy="212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ctr">
            <a:spAutoFit/>
          </a:bodyPr>
          <a:lstStyle/>
          <a:p>
            <a:pPr algn="ctr">
              <a:defRPr/>
            </a:pPr>
            <a:r>
              <a:rPr lang="it-IT" sz="1400" i="1" dirty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cs typeface="Arial" charset="0"/>
              </a:rPr>
              <a:t>%</a:t>
            </a:r>
          </a:p>
        </p:txBody>
      </p:sp>
      <p:sp>
        <p:nvSpPr>
          <p:cNvPr id="8" name="Rettangolo 7"/>
          <p:cNvSpPr/>
          <p:nvPr/>
        </p:nvSpPr>
        <p:spPr bwMode="gray">
          <a:xfrm>
            <a:off x="160499" y="1693050"/>
            <a:ext cx="4067944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600" u="sng" dirty="0" smtClean="0">
                <a:solidFill>
                  <a:srgbClr val="000000"/>
                </a:solidFill>
              </a:rPr>
              <a:t>Ha subito taccheggi</a:t>
            </a:r>
            <a:endParaRPr lang="it-IT" sz="1600" i="1" u="sng" dirty="0" smtClean="0">
              <a:solidFill>
                <a:srgbClr val="000000"/>
              </a:solidFill>
            </a:endParaRPr>
          </a:p>
        </p:txBody>
      </p:sp>
      <p:cxnSp>
        <p:nvCxnSpPr>
          <p:cNvPr id="12" name="Connettore 2 11"/>
          <p:cNvCxnSpPr/>
          <p:nvPr/>
        </p:nvCxnSpPr>
        <p:spPr>
          <a:xfrm>
            <a:off x="3563888" y="3284984"/>
            <a:ext cx="2592288" cy="39121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Tabella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9311737"/>
              </p:ext>
            </p:extLst>
          </p:nvPr>
        </p:nvGraphicFramePr>
        <p:xfrm>
          <a:off x="6372200" y="2924944"/>
          <a:ext cx="2145144" cy="13486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44379"/>
                <a:gridCol w="300765"/>
              </a:tblGrid>
              <a:tr h="269730">
                <a:tc>
                  <a:txBody>
                    <a:bodyPr/>
                    <a:lstStyle/>
                    <a:p>
                      <a:pPr algn="r" fontAlgn="b"/>
                      <a:r>
                        <a:rPr lang="it-IT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MOLTO AUMENTATO</a:t>
                      </a:r>
                      <a:endParaRPr lang="it-IT" sz="10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5</a:t>
                      </a:r>
                      <a:endParaRPr lang="it-IT" sz="10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69730">
                <a:tc>
                  <a:txBody>
                    <a:bodyPr/>
                    <a:lstStyle/>
                    <a:p>
                      <a:pPr algn="r" fontAlgn="b"/>
                      <a:r>
                        <a:rPr lang="it-IT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BBASTANZA</a:t>
                      </a:r>
                      <a:r>
                        <a:rPr lang="it-IT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AUMENTATO</a:t>
                      </a:r>
                      <a:endParaRPr lang="it-IT" sz="10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3</a:t>
                      </a:r>
                      <a:endParaRPr lang="it-IT" sz="10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69730">
                <a:tc>
                  <a:txBody>
                    <a:bodyPr/>
                    <a:lstStyle/>
                    <a:p>
                      <a:pPr algn="r" fontAlgn="b"/>
                      <a:r>
                        <a:rPr lang="it-IT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IMASTO</a:t>
                      </a:r>
                      <a:r>
                        <a:rPr lang="it-IT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UGUALE</a:t>
                      </a:r>
                      <a:r>
                        <a:rPr lang="it-IT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endParaRPr lang="it-IT" sz="10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7</a:t>
                      </a:r>
                      <a:endParaRPr lang="it-IT" sz="10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69730">
                <a:tc>
                  <a:txBody>
                    <a:bodyPr/>
                    <a:lstStyle/>
                    <a:p>
                      <a:pPr algn="r" fontAlgn="b"/>
                      <a:r>
                        <a:rPr lang="it-IT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IMINUITO</a:t>
                      </a:r>
                      <a:endParaRPr lang="it-IT" sz="10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  <a:endParaRPr lang="it-IT" sz="10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69730">
                <a:tc>
                  <a:txBody>
                    <a:bodyPr/>
                    <a:lstStyle/>
                    <a:p>
                      <a:pPr algn="r" fontAlgn="b"/>
                      <a:r>
                        <a:rPr lang="it-IT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ON RISPONDE</a:t>
                      </a:r>
                      <a:endParaRPr lang="it-IT" sz="10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  <a:endParaRPr lang="it-IT" sz="10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4" name="Rettangolo 13"/>
          <p:cNvSpPr/>
          <p:nvPr/>
        </p:nvSpPr>
        <p:spPr bwMode="gray">
          <a:xfrm>
            <a:off x="6516216" y="2347230"/>
            <a:ext cx="1944216" cy="504056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200" i="1" dirty="0" smtClean="0">
                <a:solidFill>
                  <a:srgbClr val="000000"/>
                </a:solidFill>
              </a:rPr>
              <a:t>rispetto a 5/6 anni fa </a:t>
            </a:r>
          </a:p>
          <a:p>
            <a:pPr algn="ctr"/>
            <a:r>
              <a:rPr lang="it-IT" sz="1200" b="1" i="1" dirty="0" smtClean="0">
                <a:solidFill>
                  <a:srgbClr val="000000"/>
                </a:solidFill>
              </a:rPr>
              <a:t>IL FENOMENO è</a:t>
            </a:r>
            <a:r>
              <a:rPr lang="it-IT" sz="1200" i="1" dirty="0" smtClean="0">
                <a:solidFill>
                  <a:srgbClr val="000000"/>
                </a:solidFill>
              </a:rPr>
              <a:t>…?</a:t>
            </a:r>
          </a:p>
        </p:txBody>
      </p:sp>
      <p:sp>
        <p:nvSpPr>
          <p:cNvPr id="15" name="Rettangolo 14"/>
          <p:cNvSpPr/>
          <p:nvPr/>
        </p:nvSpPr>
        <p:spPr bwMode="gray">
          <a:xfrm>
            <a:off x="4404380" y="3064768"/>
            <a:ext cx="875003" cy="504056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200" i="1" dirty="0" smtClean="0">
                <a:solidFill>
                  <a:srgbClr val="000000"/>
                </a:solidFill>
              </a:rPr>
              <a:t>55=100%</a:t>
            </a:r>
          </a:p>
        </p:txBody>
      </p:sp>
      <p:sp>
        <p:nvSpPr>
          <p:cNvPr id="16" name="Text Box 9"/>
          <p:cNvSpPr txBox="1">
            <a:spLocks noChangeArrowheads="1"/>
          </p:cNvSpPr>
          <p:nvPr/>
        </p:nvSpPr>
        <p:spPr bwMode="auto">
          <a:xfrm>
            <a:off x="2339752" y="4769857"/>
            <a:ext cx="4392488" cy="83099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wrap="square">
            <a:spAutoFit/>
          </a:bodyPr>
          <a:lstStyle>
            <a:defPPr>
              <a:defRPr lang="it-IT"/>
            </a:defPPr>
            <a:lvl1pPr algn="ctr">
              <a:defRPr sz="1600">
                <a:solidFill>
                  <a:srgbClr val="000000"/>
                </a:solidFill>
                <a:latin typeface="Century Gothic" pitchFamily="34" charset="0"/>
              </a:defRPr>
            </a:lvl1pPr>
          </a:lstStyle>
          <a:p>
            <a:r>
              <a:rPr lang="it-IT" i="1" dirty="0" smtClean="0">
                <a:solidFill>
                  <a:schemeClr val="tx1"/>
                </a:solidFill>
              </a:rPr>
              <a:t>Il fenomeno del taccheggio risulta molto diffuso e in forte aumento rispetto a 5/6 anni fa</a:t>
            </a:r>
          </a:p>
        </p:txBody>
      </p:sp>
    </p:spTree>
    <p:extLst>
      <p:ext uri="{BB962C8B-B14F-4D97-AF65-F5344CB8AC3E}">
        <p14:creationId xmlns:p14="http://schemas.microsoft.com/office/powerpoint/2010/main" val="277579197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/>
          </p:cNvSpPr>
          <p:nvPr/>
        </p:nvSpPr>
        <p:spPr>
          <a:xfrm>
            <a:off x="180503" y="260648"/>
            <a:ext cx="763185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 smtClean="0"/>
              <a:t>Il fenomeno del TACCHEGGIO:</a:t>
            </a:r>
          </a:p>
          <a:p>
            <a:r>
              <a:rPr lang="it-IT" dirty="0" smtClean="0"/>
              <a:t>Analisi per aree e settori</a:t>
            </a:r>
            <a:endParaRPr lang="it-IT" dirty="0"/>
          </a:p>
        </p:txBody>
      </p:sp>
      <p:sp>
        <p:nvSpPr>
          <p:cNvPr id="13" name="Rettangolo 12"/>
          <p:cNvSpPr/>
          <p:nvPr/>
        </p:nvSpPr>
        <p:spPr bwMode="gray">
          <a:xfrm>
            <a:off x="2649838" y="1052736"/>
            <a:ext cx="3722362" cy="504056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600" dirty="0" smtClean="0">
                <a:solidFill>
                  <a:schemeClr val="tx1"/>
                </a:solidFill>
              </a:rPr>
              <a:t>% ha subito taccheggi</a:t>
            </a:r>
          </a:p>
        </p:txBody>
      </p:sp>
      <p:graphicFrame>
        <p:nvGraphicFramePr>
          <p:cNvPr id="14" name="Tabella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4356763"/>
              </p:ext>
            </p:extLst>
          </p:nvPr>
        </p:nvGraphicFramePr>
        <p:xfrm>
          <a:off x="382847" y="2420888"/>
          <a:ext cx="3330650" cy="20402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1109"/>
                <a:gridCol w="759541"/>
              </a:tblGrid>
              <a:tr h="40804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entr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1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0804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 Italia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40804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rd Ovest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40804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rd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Est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40804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d e Isol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6" name="Tabella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9801804"/>
              </p:ext>
            </p:extLst>
          </p:nvPr>
        </p:nvGraphicFramePr>
        <p:xfrm>
          <a:off x="5273798" y="2420888"/>
          <a:ext cx="3330650" cy="384380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1109"/>
                <a:gridCol w="759541"/>
              </a:tblGrid>
              <a:tr h="427089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baccai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7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27089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ditori su aree pubbliche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4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27089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tro settore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27089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imentari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9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27089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sng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 Italia</a:t>
                      </a:r>
                      <a:endParaRPr lang="it-IT" sz="1400" b="0" i="0" u="sng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sng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</a:t>
                      </a:r>
                      <a:endParaRPr lang="it-IT" sz="1400" b="0" i="0" u="sng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427089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nzinai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427089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bblici esercizi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427089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berghi e turismo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427089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sporti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7" name="Tabel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2357281"/>
              </p:ext>
            </p:extLst>
          </p:nvPr>
        </p:nvGraphicFramePr>
        <p:xfrm>
          <a:off x="382847" y="5085184"/>
          <a:ext cx="3330650" cy="12241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1109"/>
                <a:gridCol w="759541"/>
              </a:tblGrid>
              <a:tr h="40804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andi centri centro nord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0804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andi centri centro sud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0804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 Italia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18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32181">
            <a:off x="2904738" y="4810790"/>
            <a:ext cx="882093" cy="795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Rettangolo 18"/>
          <p:cNvSpPr/>
          <p:nvPr/>
        </p:nvSpPr>
        <p:spPr bwMode="gray">
          <a:xfrm>
            <a:off x="0" y="1772816"/>
            <a:ext cx="4067944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600" i="1" dirty="0" smtClean="0">
                <a:solidFill>
                  <a:srgbClr val="E95E0F"/>
                </a:solidFill>
              </a:rPr>
              <a:t>area geografica</a:t>
            </a:r>
          </a:p>
        </p:txBody>
      </p:sp>
      <p:sp>
        <p:nvSpPr>
          <p:cNvPr id="20" name="Rettangolo 19"/>
          <p:cNvSpPr/>
          <p:nvPr/>
        </p:nvSpPr>
        <p:spPr bwMode="gray">
          <a:xfrm>
            <a:off x="4968552" y="1778256"/>
            <a:ext cx="4067944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600" i="1" dirty="0" smtClean="0">
                <a:solidFill>
                  <a:srgbClr val="E95E0F"/>
                </a:solidFill>
              </a:rPr>
              <a:t>settore</a:t>
            </a:r>
          </a:p>
        </p:txBody>
      </p:sp>
      <p:sp>
        <p:nvSpPr>
          <p:cNvPr id="21" name="Rettangolo 20"/>
          <p:cNvSpPr/>
          <p:nvPr/>
        </p:nvSpPr>
        <p:spPr bwMode="gray">
          <a:xfrm>
            <a:off x="0" y="4545124"/>
            <a:ext cx="4067944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600" i="1" dirty="0" smtClean="0">
                <a:solidFill>
                  <a:srgbClr val="E95E0F"/>
                </a:solidFill>
              </a:rPr>
              <a:t>area urbana</a:t>
            </a:r>
          </a:p>
        </p:txBody>
      </p:sp>
      <p:sp>
        <p:nvSpPr>
          <p:cNvPr id="11" name="Rettangolo 10"/>
          <p:cNvSpPr/>
          <p:nvPr/>
        </p:nvSpPr>
        <p:spPr>
          <a:xfrm>
            <a:off x="221483" y="950531"/>
            <a:ext cx="233429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000" i="1" dirty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(base = totale campione, n= </a:t>
            </a:r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5880)</a:t>
            </a:r>
            <a:endParaRPr lang="it-IT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5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733183">
            <a:off x="7672134" y="2320267"/>
            <a:ext cx="1081295" cy="974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47824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el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8576854"/>
              </p:ext>
            </p:extLst>
          </p:nvPr>
        </p:nvGraphicFramePr>
        <p:xfrm>
          <a:off x="820469" y="2322700"/>
          <a:ext cx="2448272" cy="38426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8272"/>
              </a:tblGrid>
              <a:tr h="295585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ALMENO UNO 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5585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presenza di venditori abusivi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5585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negozi sfitti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5585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presenza di nomadi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5585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presenza di tossicodipendenti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5585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spaccio di droga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5585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edifici abbandonati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5585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attivita'</a:t>
                      </a:r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 di prostituzione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5585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case occupate abusivamente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5585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baby gang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5585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risse tra bande rivali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5585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…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5585">
                <a:tc>
                  <a:txBody>
                    <a:bodyPr/>
                    <a:lstStyle/>
                    <a:p>
                      <a:pPr algn="r" fontAlgn="b"/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Rettangolo 7"/>
          <p:cNvSpPr/>
          <p:nvPr/>
        </p:nvSpPr>
        <p:spPr bwMode="gray">
          <a:xfrm>
            <a:off x="2908701" y="1462718"/>
            <a:ext cx="3168352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600" i="1" u="sng" dirty="0" smtClean="0">
                <a:solidFill>
                  <a:srgbClr val="000000"/>
                </a:solidFill>
              </a:rPr>
              <a:t>Presente nell’area dove esercita la Sua attività</a:t>
            </a:r>
          </a:p>
        </p:txBody>
      </p:sp>
      <p:sp>
        <p:nvSpPr>
          <p:cNvPr id="9" name="Rectangle 2"/>
          <p:cNvSpPr txBox="1">
            <a:spLocks/>
          </p:cNvSpPr>
          <p:nvPr/>
        </p:nvSpPr>
        <p:spPr>
          <a:xfrm>
            <a:off x="180503" y="260648"/>
            <a:ext cx="763185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 smtClean="0"/>
              <a:t>Le  problematiche del territorio</a:t>
            </a:r>
            <a:endParaRPr lang="it-IT" dirty="0"/>
          </a:p>
        </p:txBody>
      </p:sp>
      <p:sp>
        <p:nvSpPr>
          <p:cNvPr id="10" name="Rettangolo 9"/>
          <p:cNvSpPr/>
          <p:nvPr/>
        </p:nvSpPr>
        <p:spPr>
          <a:xfrm>
            <a:off x="32818" y="908720"/>
            <a:ext cx="893166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000" i="1" dirty="0">
                <a:solidFill>
                  <a:srgbClr val="928580">
                    <a:lumMod val="50000"/>
                  </a:srgbClr>
                </a:solidFill>
                <a:latin typeface="Century Gothic" pitchFamily="34" charset="0"/>
              </a:rPr>
              <a:t>L’area in cui esercita la sua attività, presenta i seguenti fenomeni? </a:t>
            </a:r>
            <a:endParaRPr lang="it-IT" sz="1000" i="1" dirty="0" smtClean="0">
              <a:solidFill>
                <a:srgbClr val="928580">
                  <a:lumMod val="50000"/>
                </a:srgbClr>
              </a:solidFill>
              <a:latin typeface="Century Gothic" pitchFamily="34" charset="0"/>
            </a:endParaRPr>
          </a:p>
          <a:p>
            <a:r>
              <a:rPr lang="it-IT" sz="1000" i="1" dirty="0">
                <a:solidFill>
                  <a:srgbClr val="928580">
                    <a:lumMod val="50000"/>
                  </a:srgbClr>
                </a:solidFill>
                <a:latin typeface="Century Gothic" pitchFamily="34" charset="0"/>
              </a:rPr>
              <a:t>(base = </a:t>
            </a:r>
            <a:r>
              <a:rPr lang="it-IT" sz="1000" i="1" dirty="0" smtClean="0">
                <a:solidFill>
                  <a:srgbClr val="928580">
                    <a:lumMod val="50000"/>
                  </a:srgbClr>
                </a:solidFill>
                <a:latin typeface="Century Gothic" pitchFamily="34" charset="0"/>
              </a:rPr>
              <a:t>totale campione, n= 5880)</a:t>
            </a:r>
            <a:endParaRPr lang="it-IT" sz="1000" dirty="0">
              <a:solidFill>
                <a:srgbClr val="928580">
                  <a:lumMod val="50000"/>
                </a:srgbClr>
              </a:solidFill>
            </a:endParaRPr>
          </a:p>
          <a:p>
            <a:endParaRPr lang="it-IT" sz="1000" dirty="0">
              <a:solidFill>
                <a:srgbClr val="928580">
                  <a:lumMod val="50000"/>
                </a:srgbClr>
              </a:solidFill>
            </a:endParaRPr>
          </a:p>
        </p:txBody>
      </p:sp>
      <p:sp>
        <p:nvSpPr>
          <p:cNvPr id="11" name="Text Box 8"/>
          <p:cNvSpPr txBox="1">
            <a:spLocks noChangeArrowheads="1"/>
          </p:cNvSpPr>
          <p:nvPr/>
        </p:nvSpPr>
        <p:spPr bwMode="auto">
          <a:xfrm>
            <a:off x="4310761" y="2073548"/>
            <a:ext cx="358775" cy="212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ctr">
            <a:spAutoFit/>
          </a:bodyPr>
          <a:lstStyle/>
          <a:p>
            <a:pPr algn="ctr">
              <a:defRPr/>
            </a:pPr>
            <a:r>
              <a:rPr lang="it-IT" sz="1400" i="1" dirty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cs typeface="Arial" charset="0"/>
              </a:rPr>
              <a:t>%</a:t>
            </a:r>
          </a:p>
        </p:txBody>
      </p:sp>
      <p:graphicFrame>
        <p:nvGraphicFramePr>
          <p:cNvPr id="12" name="Grafico 11"/>
          <p:cNvGraphicFramePr/>
          <p:nvPr>
            <p:extLst>
              <p:ext uri="{D42A27DB-BD31-4B8C-83A1-F6EECF244321}">
                <p14:modId xmlns:p14="http://schemas.microsoft.com/office/powerpoint/2010/main" val="4157661838"/>
              </p:ext>
            </p:extLst>
          </p:nvPr>
        </p:nvGraphicFramePr>
        <p:xfrm>
          <a:off x="2332637" y="2322700"/>
          <a:ext cx="5623739" cy="3867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57386718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323850" y="1988691"/>
            <a:ext cx="8496300" cy="1584325"/>
          </a:xfrm>
        </p:spPr>
        <p:txBody>
          <a:bodyPr/>
          <a:lstStyle/>
          <a:p>
            <a:r>
              <a:rPr lang="it-IT" dirty="0" smtClean="0">
                <a:latin typeface="Century Gothic" panose="020B0502020202020204" pitchFamily="34" charset="0"/>
              </a:rPr>
              <a:t>Il confronto tra </a:t>
            </a:r>
            <a:r>
              <a:rPr lang="it-IT" smtClean="0">
                <a:latin typeface="Century Gothic" panose="020B0502020202020204" pitchFamily="34" charset="0"/>
              </a:rPr>
              <a:t>i risultati </a:t>
            </a:r>
            <a:r>
              <a:rPr lang="it-IT" dirty="0" smtClean="0">
                <a:latin typeface="Century Gothic" panose="020B0502020202020204" pitchFamily="34" charset="0"/>
              </a:rPr>
              <a:t>nazionali e regionali</a:t>
            </a:r>
            <a:endParaRPr lang="it-IT" dirty="0">
              <a:latin typeface="Century Gothic" panose="020B0502020202020204" pitchFamily="34" charset="0"/>
            </a:endParaRPr>
          </a:p>
        </p:txBody>
      </p:sp>
      <p:grpSp>
        <p:nvGrpSpPr>
          <p:cNvPr id="18" name="Gruppo 17"/>
          <p:cNvGrpSpPr/>
          <p:nvPr/>
        </p:nvGrpSpPr>
        <p:grpSpPr>
          <a:xfrm>
            <a:off x="-18000" y="5381751"/>
            <a:ext cx="9180000" cy="1476249"/>
            <a:chOff x="-15129" y="1545126"/>
            <a:chExt cx="14893201" cy="1476249"/>
          </a:xfrm>
        </p:grpSpPr>
        <p:pic>
          <p:nvPicPr>
            <p:cNvPr id="5" name="Immagine 4"/>
            <p:cNvPicPr preferRelativeResize="0">
              <a:picLocks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15129" y="1552575"/>
              <a:ext cx="2484000" cy="1468800"/>
            </a:xfrm>
            <a:prstGeom prst="rect">
              <a:avLst/>
            </a:prstGeom>
          </p:spPr>
        </p:pic>
        <p:pic>
          <p:nvPicPr>
            <p:cNvPr id="6" name="Immagine 5"/>
            <p:cNvPicPr preferRelativeResize="0">
              <a:picLocks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11321" y="1545127"/>
              <a:ext cx="2482751" cy="1468800"/>
            </a:xfrm>
            <a:prstGeom prst="rect">
              <a:avLst/>
            </a:prstGeom>
          </p:spPr>
        </p:pic>
        <p:pic>
          <p:nvPicPr>
            <p:cNvPr id="7" name="Immagine 6"/>
            <p:cNvPicPr preferRelativeResize="0">
              <a:picLocks/>
            </p:cNvPicPr>
            <p:nvPr/>
          </p:nvPicPr>
          <p:blipFill rotWithShape="1">
            <a:blip r:embed="rId4"/>
            <a:srcRect r="5847" b="12367"/>
            <a:stretch/>
          </p:blipFill>
          <p:spPr>
            <a:xfrm>
              <a:off x="4942072" y="1545126"/>
              <a:ext cx="2484000" cy="1468800"/>
            </a:xfrm>
            <a:prstGeom prst="rect">
              <a:avLst/>
            </a:prstGeom>
          </p:spPr>
        </p:pic>
        <p:pic>
          <p:nvPicPr>
            <p:cNvPr id="8" name="Immagine 7"/>
            <p:cNvPicPr preferRelativeResize="0">
              <a:picLocks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2394072" y="1545127"/>
              <a:ext cx="2484000" cy="1468800"/>
            </a:xfrm>
            <a:prstGeom prst="rect">
              <a:avLst/>
            </a:prstGeom>
          </p:spPr>
        </p:pic>
        <p:pic>
          <p:nvPicPr>
            <p:cNvPr id="9" name="Immagine 8"/>
            <p:cNvPicPr preferRelativeResize="0">
              <a:picLocks/>
            </p:cNvPicPr>
            <p:nvPr/>
          </p:nvPicPr>
          <p:blipFill rotWithShape="1">
            <a:blip r:embed="rId6"/>
            <a:srcRect t="7046" b="4812"/>
            <a:stretch/>
          </p:blipFill>
          <p:spPr>
            <a:xfrm>
              <a:off x="7426072" y="1545127"/>
              <a:ext cx="2484000" cy="1469308"/>
            </a:xfrm>
            <a:prstGeom prst="rect">
              <a:avLst/>
            </a:prstGeom>
          </p:spPr>
        </p:pic>
        <p:pic>
          <p:nvPicPr>
            <p:cNvPr id="10" name="Immagine 9"/>
            <p:cNvPicPr preferRelativeResize="0">
              <a:picLocks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53641" y="1545127"/>
              <a:ext cx="2484000" cy="1468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46333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/>
          </p:cNvSpPr>
          <p:nvPr/>
        </p:nvSpPr>
        <p:spPr>
          <a:xfrm>
            <a:off x="324519" y="116632"/>
            <a:ext cx="763185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>
                <a:solidFill>
                  <a:srgbClr val="E95E0F"/>
                </a:solidFill>
              </a:rPr>
              <a:t>Il confronto tra i risultati nazionali e regionali </a:t>
            </a:r>
          </a:p>
        </p:txBody>
      </p:sp>
      <p:graphicFrame>
        <p:nvGraphicFramePr>
          <p:cNvPr id="21" name="Tabel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9603225"/>
              </p:ext>
            </p:extLst>
          </p:nvPr>
        </p:nvGraphicFramePr>
        <p:xfrm>
          <a:off x="179513" y="1268760"/>
          <a:ext cx="8640959" cy="471679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45813"/>
                <a:gridCol w="3710970"/>
                <a:gridCol w="720080"/>
                <a:gridCol w="864096"/>
              </a:tblGrid>
              <a:tr h="361517"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Italia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Abruzzo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8771"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cezione 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 sicurezza per l’attiv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è peggiorat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7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imini aumentati di più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urt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3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usivism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1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traffazio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ap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6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sur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ngenti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negli appalti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torsione 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criminal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ndiretta e/o dirett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975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zioni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i protezione della propria impresa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meno una (telecamere, allarme, assicurazione, ..)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7</a:t>
                      </a:r>
                      <a:endParaRPr lang="it-IT" sz="14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0819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iziative più efficaci per la sicurezza dell’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ttiv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tezione da parte delle forze dell’ord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6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ertezza della pen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9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1171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collaborazione con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le forze dell’ord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3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taccheggio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 ha subit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7</a:t>
                      </a:r>
                      <a:endParaRPr lang="it-IT" sz="14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blematiche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rincipali del territorio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venditori abusiv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9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ozi sfitt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nomad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4519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/>
          </p:cNvSpPr>
          <p:nvPr/>
        </p:nvSpPr>
        <p:spPr>
          <a:xfrm>
            <a:off x="324519" y="116632"/>
            <a:ext cx="763185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>
                <a:solidFill>
                  <a:srgbClr val="E95E0F"/>
                </a:solidFill>
              </a:rPr>
              <a:t>Il confronto tra i risultati nazionali e regionali </a:t>
            </a:r>
          </a:p>
        </p:txBody>
      </p:sp>
      <p:graphicFrame>
        <p:nvGraphicFramePr>
          <p:cNvPr id="21" name="Tabel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2350920"/>
              </p:ext>
            </p:extLst>
          </p:nvPr>
        </p:nvGraphicFramePr>
        <p:xfrm>
          <a:off x="179513" y="1268760"/>
          <a:ext cx="8784976" cy="471679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401577"/>
                <a:gridCol w="3655206"/>
                <a:gridCol w="720080"/>
                <a:gridCol w="1008113"/>
              </a:tblGrid>
              <a:tr h="361517"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Italia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Basilicata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8771"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cezione 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 sicurezza per l’attiv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è peggiorat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7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imini aumentati di più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urt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usivism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9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traffazio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ap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sur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3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ngenti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negli appalti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3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torsione 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3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criminal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ndiretta e/o dirett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975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zioni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i protezione della propria impresa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meno una (telecamere, allarme, assicurazione, ..)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</a:t>
                      </a:r>
                      <a:endParaRPr lang="it-IT" sz="14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0819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iziative più efficaci per la sicurezza dell’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ttiv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tezione da parte delle forze dell’ord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3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ertezza della pen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1171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collaborazione con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le forze dell’ord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taccheggio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 ha subit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7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blematiche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rincipali del territorio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venditori abusiv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ozi sfitt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nomad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06065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/>
          </p:cNvSpPr>
          <p:nvPr/>
        </p:nvSpPr>
        <p:spPr>
          <a:xfrm>
            <a:off x="299708" y="134892"/>
            <a:ext cx="763185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>
                <a:solidFill>
                  <a:srgbClr val="E95E0F"/>
                </a:solidFill>
              </a:rPr>
              <a:t>Il confronto tra i risultati nazionali e regionali </a:t>
            </a:r>
          </a:p>
        </p:txBody>
      </p:sp>
      <p:graphicFrame>
        <p:nvGraphicFramePr>
          <p:cNvPr id="21" name="Tabel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1049463"/>
              </p:ext>
            </p:extLst>
          </p:nvPr>
        </p:nvGraphicFramePr>
        <p:xfrm>
          <a:off x="179513" y="1340768"/>
          <a:ext cx="8784976" cy="471679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401577"/>
                <a:gridCol w="3655206"/>
                <a:gridCol w="720080"/>
                <a:gridCol w="1008113"/>
              </a:tblGrid>
              <a:tr h="361517"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Italia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Calabria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8771"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cezione 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 sicurezza per l’attiv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è peggiorat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7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imini aumentati di più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urt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3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usivism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8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traffazio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1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ap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sur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ngenti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negli appalti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torsione 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criminal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ndiretta e/o dirett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3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975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zioni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i protezione della propria impresa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meno una (telecamere, allarme, assicurazione, ..)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0819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iziative più efficaci per la sicurezza dell’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ttiv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tezione da parte delle forze dell’ord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ertezza della pen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1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1171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collaborazione con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le forze dell’ord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3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taccheggio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 ha subit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</a:t>
                      </a:r>
                      <a:endParaRPr lang="it-IT" sz="14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blematiche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rincipali del territorio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venditori abusiv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3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ozi sfitt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nomad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6222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/>
          </p:cNvSpPr>
          <p:nvPr/>
        </p:nvSpPr>
        <p:spPr>
          <a:xfrm>
            <a:off x="324519" y="116632"/>
            <a:ext cx="763185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>
                <a:solidFill>
                  <a:srgbClr val="E95E0F"/>
                </a:solidFill>
              </a:rPr>
              <a:t>Il confronto tra i risultati nazionali e regionali </a:t>
            </a:r>
          </a:p>
        </p:txBody>
      </p:sp>
      <p:graphicFrame>
        <p:nvGraphicFramePr>
          <p:cNvPr id="4" name="Tabel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6915780"/>
              </p:ext>
            </p:extLst>
          </p:nvPr>
        </p:nvGraphicFramePr>
        <p:xfrm>
          <a:off x="395537" y="1340768"/>
          <a:ext cx="8136903" cy="487222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2662"/>
                <a:gridCol w="3304041"/>
                <a:gridCol w="648072"/>
                <a:gridCol w="1152128"/>
              </a:tblGrid>
              <a:tr h="361517"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Italia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Campania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8771"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cezione 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 sicurezza per l’attiv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è peggiorat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7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imini aumentati di più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urt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usivism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traffazio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9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ap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sur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3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ngenti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negli appalti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torsione 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criminal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ndiretta e/o dirett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9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975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zioni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i protezione della propria impresa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meno una (telecamere, allarme, assicurazione, ..)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9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0819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iziative più efficaci per la sicurezza dell’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ttiv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tezione da parte delle forze dell’ord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0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ertezza della pen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3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1171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collaborazione con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le forze dell’ord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taccheggio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 ha subit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blematiche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rincipali del territorio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venditori abusiv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1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ozi sfitt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7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nomad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6132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 txBox="1">
            <a:spLocks/>
          </p:cNvSpPr>
          <p:nvPr/>
        </p:nvSpPr>
        <p:spPr bwMode="gray">
          <a:xfrm>
            <a:off x="323528" y="117004"/>
            <a:ext cx="5184576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altLang="it-IT" sz="2200" dirty="0" smtClean="0">
                <a:solidFill>
                  <a:srgbClr val="E95E0F"/>
                </a:solidFill>
                <a:latin typeface="Century Gothic" panose="020B0502020202020204" pitchFamily="34" charset="0"/>
              </a:rPr>
              <a:t>Premessa e obiettivi</a:t>
            </a:r>
            <a:endParaRPr lang="en-US" altLang="it-IT" sz="2200" dirty="0">
              <a:solidFill>
                <a:srgbClr val="E95E0F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Segnaposto contenuto 1"/>
          <p:cNvSpPr txBox="1">
            <a:spLocks/>
          </p:cNvSpPr>
          <p:nvPr/>
        </p:nvSpPr>
        <p:spPr bwMode="gray">
          <a:xfrm>
            <a:off x="304478" y="1124744"/>
            <a:ext cx="8496622" cy="5034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8000" rIns="0" bIns="0">
            <a:spAutoFit/>
          </a:bodyPr>
          <a:lstStyle>
            <a:lvl1pPr algn="just" rtl="0" eaLnBrk="0" fontAlgn="base" hangingPunct="0">
              <a:spcBef>
                <a:spcPts val="600"/>
              </a:spcBef>
              <a:spcAft>
                <a:spcPct val="0"/>
              </a:spcAft>
              <a:buFont typeface="Arial" pitchFamily="34" charset="0"/>
              <a:defRPr lang="it-IT" sz="16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1588" indent="-1588" algn="just" rtl="0" eaLnBrk="0" fontAlgn="base" hangingPunct="0">
              <a:spcBef>
                <a:spcPts val="600"/>
              </a:spcBef>
              <a:spcAft>
                <a:spcPts val="0"/>
              </a:spcAft>
              <a:buFont typeface="Arial" pitchFamily="34" charset="0"/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268288" indent="-265113" algn="just" rtl="0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E95E0F"/>
              </a:buClr>
              <a:buSzPct val="90000"/>
              <a:buFont typeface="Wingdings" pitchFamily="2" charset="2"/>
              <a:buChar char="n"/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538163" indent="-266700" algn="just" rtl="0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E31B19"/>
              </a:buClr>
              <a:buFont typeface="Wingdings 3" pitchFamily="18" charset="2"/>
              <a:buChar char=""/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806450" indent="-265113" algn="just" rtl="0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E31B19"/>
              </a:buClr>
              <a:buFont typeface="Wingdings" pitchFamily="2" charset="2"/>
              <a:buChar char="ü"/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14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Nel 2007 Confcommercio ha realizzato, </a:t>
            </a:r>
            <a:r>
              <a:rPr sz="1400" dirty="0">
                <a:solidFill>
                  <a:srgbClr val="000000"/>
                </a:solidFill>
                <a:latin typeface="Century Gothic" panose="020B0502020202020204" pitchFamily="34" charset="0"/>
              </a:rPr>
              <a:t>con il supporto di </a:t>
            </a:r>
            <a:r>
              <a:rPr sz="140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GfK</a:t>
            </a:r>
            <a:r>
              <a:rPr sz="1400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sz="140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Eurisko</a:t>
            </a:r>
            <a:r>
              <a:rPr sz="1400" dirty="0">
                <a:solidFill>
                  <a:srgbClr val="000000"/>
                </a:solidFill>
                <a:latin typeface="Century Gothic" panose="020B0502020202020204" pitchFamily="34" charset="0"/>
              </a:rPr>
              <a:t>, un’indagine </a:t>
            </a:r>
            <a:r>
              <a:rPr sz="14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sulla criminalità che colpisce le imprese del commercio, del turismo, dei servizi e dei trasporti. </a:t>
            </a:r>
            <a:r>
              <a:rPr sz="1400" dirty="0">
                <a:solidFill>
                  <a:srgbClr val="000000"/>
                </a:solidFill>
                <a:latin typeface="Century Gothic" panose="020B0502020202020204" pitchFamily="34" charset="0"/>
              </a:rPr>
              <a:t>A distanza di alcuni anni, caratterizzati da una </a:t>
            </a:r>
            <a:r>
              <a:rPr sz="14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grave </a:t>
            </a:r>
            <a:r>
              <a:rPr sz="1400" dirty="0">
                <a:solidFill>
                  <a:srgbClr val="000000"/>
                </a:solidFill>
                <a:latin typeface="Century Gothic" panose="020B0502020202020204" pitchFamily="34" charset="0"/>
              </a:rPr>
              <a:t>crisi </a:t>
            </a:r>
            <a:r>
              <a:rPr sz="14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economica, </a:t>
            </a:r>
            <a:r>
              <a:rPr sz="1400" dirty="0">
                <a:solidFill>
                  <a:srgbClr val="000000"/>
                </a:solidFill>
                <a:latin typeface="Century Gothic" panose="020B0502020202020204" pitchFamily="34" charset="0"/>
              </a:rPr>
              <a:t>Confcommercio-Imprese per l’Italia ha voluto replicare l’indagine allo scopo </a:t>
            </a:r>
            <a:r>
              <a:rPr sz="14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di aggiornare </a:t>
            </a:r>
            <a:r>
              <a:rPr sz="1400" dirty="0">
                <a:solidFill>
                  <a:srgbClr val="000000"/>
                </a:solidFill>
                <a:latin typeface="Century Gothic" panose="020B0502020202020204" pitchFamily="34" charset="0"/>
              </a:rPr>
              <a:t>le informazioni rilevate in passato e verificare gli effetti della crisi </a:t>
            </a:r>
            <a:r>
              <a:rPr sz="14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sui fenomeni di criminalità.</a:t>
            </a:r>
            <a:endParaRPr sz="140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r>
              <a:rPr sz="14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Questi i </a:t>
            </a:r>
            <a:r>
              <a:rPr sz="1400" b="1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temi trattati </a:t>
            </a:r>
            <a:r>
              <a:rPr sz="14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dall’indagine: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sz="1400" b="1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Le percezione sull’andamento </a:t>
            </a:r>
            <a:r>
              <a:rPr sz="14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della criminalità </a:t>
            </a:r>
            <a:r>
              <a:rPr sz="14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(furti, rapine, contraffazione, estorsioni, usura, tangenti negli appalti….)</a:t>
            </a:r>
            <a:endParaRPr sz="140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285750" lvl="1" indent="-285750">
              <a:buFont typeface="Wingdings" panose="05000000000000000000" pitchFamily="2" charset="2"/>
              <a:buChar char="q"/>
            </a:pPr>
            <a:r>
              <a:rPr lang="it-IT" sz="1400" b="1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L’esperienza di criminalità</a:t>
            </a:r>
            <a:r>
              <a:rPr lang="it-IT" sz="14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, indiretta e diretta</a:t>
            </a:r>
            <a:endParaRPr lang="it-IT" sz="140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285750" lvl="1" indent="-285750">
              <a:buFont typeface="Wingdings" panose="05000000000000000000" pitchFamily="2" charset="2"/>
              <a:buChar char="q"/>
            </a:pPr>
            <a:r>
              <a:rPr lang="it-IT" sz="1400" b="1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Gli autori e la natura delle minacce/intimidazioni  </a:t>
            </a:r>
            <a:endParaRPr lang="it-IT" sz="1400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285750" lvl="1" indent="-285750">
              <a:buFont typeface="Wingdings" panose="05000000000000000000" pitchFamily="2" charset="2"/>
              <a:buChar char="q"/>
            </a:pPr>
            <a:r>
              <a:rPr lang="it-IT" sz="1400" b="1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Le risposte alle richieste estorsive</a:t>
            </a:r>
            <a:endParaRPr lang="it-IT" sz="1400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sz="14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L</a:t>
            </a:r>
            <a:r>
              <a:rPr sz="1400" b="1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e </a:t>
            </a:r>
            <a:r>
              <a:rPr sz="14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misure cautelative prese nei confronti del </a:t>
            </a:r>
            <a:r>
              <a:rPr sz="1400" b="1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racket e della criminalità</a:t>
            </a:r>
            <a:endParaRPr sz="1400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sz="14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L</a:t>
            </a:r>
            <a:r>
              <a:rPr sz="1400" b="1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e </a:t>
            </a:r>
            <a:r>
              <a:rPr sz="14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iniziative ritenute più efficaci per la sicurezza delle </a:t>
            </a:r>
            <a:r>
              <a:rPr sz="1400" b="1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imprese</a:t>
            </a:r>
            <a:endParaRPr sz="140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sz="1400" b="1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Il fenomeno del taccheggi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sz="1400" b="1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I problemi del territorio.</a:t>
            </a:r>
          </a:p>
          <a:p>
            <a:endParaRPr sz="1400" dirty="0" smtClean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r>
              <a:rPr sz="14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In </a:t>
            </a:r>
            <a:r>
              <a:rPr sz="1400" dirty="0">
                <a:solidFill>
                  <a:srgbClr val="000000"/>
                </a:solidFill>
                <a:latin typeface="Century Gothic" panose="020B0502020202020204" pitchFamily="34" charset="0"/>
              </a:rPr>
              <a:t>questo documento </a:t>
            </a:r>
            <a:r>
              <a:rPr sz="14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vengono </a:t>
            </a:r>
            <a:r>
              <a:rPr sz="1400" dirty="0">
                <a:solidFill>
                  <a:srgbClr val="000000"/>
                </a:solidFill>
                <a:latin typeface="Century Gothic" panose="020B0502020202020204" pitchFamily="34" charset="0"/>
              </a:rPr>
              <a:t>illustrati i risultati dell’indagine </a:t>
            </a:r>
            <a:r>
              <a:rPr sz="14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appena realizzata, posti </a:t>
            </a:r>
            <a:r>
              <a:rPr sz="1400" dirty="0">
                <a:solidFill>
                  <a:srgbClr val="000000"/>
                </a:solidFill>
                <a:latin typeface="Century Gothic" panose="020B0502020202020204" pitchFamily="34" charset="0"/>
              </a:rPr>
              <a:t>a confronto con quelli dell’indagine del 2007.</a:t>
            </a:r>
          </a:p>
          <a:p>
            <a:endParaRPr sz="14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0393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/>
          </p:cNvSpPr>
          <p:nvPr/>
        </p:nvSpPr>
        <p:spPr>
          <a:xfrm>
            <a:off x="324519" y="116632"/>
            <a:ext cx="763185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>
                <a:solidFill>
                  <a:srgbClr val="E95E0F"/>
                </a:solidFill>
              </a:rPr>
              <a:t>I</a:t>
            </a:r>
            <a:r>
              <a:rPr lang="it-IT" dirty="0" smtClean="0">
                <a:solidFill>
                  <a:srgbClr val="E95E0F"/>
                </a:solidFill>
              </a:rPr>
              <a:t>l </a:t>
            </a:r>
            <a:r>
              <a:rPr lang="it-IT" dirty="0">
                <a:solidFill>
                  <a:srgbClr val="E95E0F"/>
                </a:solidFill>
              </a:rPr>
              <a:t>confronto tra i risultati nazionali e regionali </a:t>
            </a:r>
          </a:p>
        </p:txBody>
      </p:sp>
      <p:graphicFrame>
        <p:nvGraphicFramePr>
          <p:cNvPr id="4" name="Tabel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8191799"/>
              </p:ext>
            </p:extLst>
          </p:nvPr>
        </p:nvGraphicFramePr>
        <p:xfrm>
          <a:off x="656037" y="853013"/>
          <a:ext cx="7372347" cy="578667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20105"/>
                <a:gridCol w="2902872"/>
                <a:gridCol w="624775"/>
                <a:gridCol w="1124595"/>
              </a:tblGrid>
              <a:tr h="361517"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Italia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Emilia Romagna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8771"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cezione </a:t>
                      </a:r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 sicurezza per l’attività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è peggiorata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9</a:t>
                      </a:r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7"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imini aumentati di più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urti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8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76</a:t>
                      </a:r>
                      <a:endParaRPr lang="it-IT" sz="1200" b="0" i="0" u="none" strike="noStrike"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usivismo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56</a:t>
                      </a:r>
                      <a:endParaRPr lang="it-IT" sz="1200" b="0" i="0" u="none" strike="noStrike"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traffazione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53</a:t>
                      </a:r>
                      <a:endParaRPr lang="it-IT" sz="1200" b="0" i="0" u="none" strike="noStrike"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apine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56</a:t>
                      </a:r>
                      <a:endParaRPr lang="it-IT" sz="1200" b="0" i="0" u="none" strike="noStrike"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sura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27</a:t>
                      </a:r>
                      <a:endParaRPr lang="it-IT" sz="1200" b="0" i="0" u="none" strike="noStrike"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ngenti</a:t>
                      </a: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negli appalti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27</a:t>
                      </a:r>
                      <a:endParaRPr lang="it-IT" sz="1200" b="0" i="0" u="none" strike="noStrike"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torsione 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22</a:t>
                      </a:r>
                      <a:endParaRPr lang="it-IT" sz="1200" b="0" i="0" u="none" strike="noStrike"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criminalità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</a:t>
                      </a: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ndiretta e/o diretta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</a:t>
                      </a:r>
                      <a:endParaRPr lang="it-IT" sz="12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2"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utori delle mina</a:t>
                      </a:r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ce/intimidazioni 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linquenti comuni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1</a:t>
                      </a:r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200" u="none" strike="noStrike" kern="1200" dirty="0" smtClean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iminalità organizzata</a:t>
                      </a:r>
                      <a:endParaRPr lang="it-IT" sz="12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2"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atura delle minacce/intimidazioni</a:t>
                      </a:r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sione</a:t>
                      </a: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sicologica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9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9</a:t>
                      </a:r>
                      <a:endParaRPr lang="it-IT" sz="12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anneggiamento a cose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1</a:t>
                      </a:r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isposta alla richiesta estorsiva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a accettato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7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</a:t>
                      </a:r>
                      <a:endParaRPr lang="it-IT" sz="12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97587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zioni</a:t>
                      </a:r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i protezione della propria impresa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meno una </a:t>
                      </a:r>
                      <a:r>
                        <a:rPr lang="it-IT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telecamere, allarme, assicurazione, ..)</a:t>
                      </a:r>
                      <a:endParaRPr lang="it-IT" sz="11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</a:t>
                      </a:r>
                      <a:endParaRPr lang="it-IT" sz="1200" b="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0819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iziative più efficaci per la sicurezza dell’</a:t>
                      </a:r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ttività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</a:t>
                      </a: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tezione da parte delle forze dell’ordine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4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6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ertezza della pena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3</a:t>
                      </a:r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1171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collaborazione con</a:t>
                      </a: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le forze dell’ordine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taccheggio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 ha subito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6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blematiche</a:t>
                      </a:r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el territorio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venditori abusivi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ozi sfitti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nomadi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2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2370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/>
          </p:cNvSpPr>
          <p:nvPr/>
        </p:nvSpPr>
        <p:spPr>
          <a:xfrm>
            <a:off x="324519" y="116632"/>
            <a:ext cx="763185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>
                <a:solidFill>
                  <a:srgbClr val="E95E0F"/>
                </a:solidFill>
              </a:rPr>
              <a:t>Il confronto tra i risultati nazionali e regionali </a:t>
            </a:r>
          </a:p>
        </p:txBody>
      </p:sp>
      <p:graphicFrame>
        <p:nvGraphicFramePr>
          <p:cNvPr id="21" name="Tabel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9142809"/>
              </p:ext>
            </p:extLst>
          </p:nvPr>
        </p:nvGraphicFramePr>
        <p:xfrm>
          <a:off x="179512" y="1124744"/>
          <a:ext cx="8640959" cy="508255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45813"/>
                <a:gridCol w="3638962"/>
                <a:gridCol w="792088"/>
                <a:gridCol w="864096"/>
              </a:tblGrid>
              <a:tr h="361517"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Italia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Friuli Venezia</a:t>
                      </a:r>
                      <a:r>
                        <a:rPr lang="it-IT" sz="1600" b="1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Giulia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8771"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cezione 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 sicurezza per l’attiv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è peggiorat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2</a:t>
                      </a:r>
                      <a:endParaRPr lang="it-IT" sz="1400" b="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7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imini aumentati di più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urt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1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usivism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traffazio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ap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4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sur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ngenti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negli appalti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torsione 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criminal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ndiretta e/o dirett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975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zioni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i protezione della propria impresa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meno una (telecamere, allarme, assicurazione, ..)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1</a:t>
                      </a:r>
                      <a:endParaRPr lang="it-IT" sz="14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0819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iziative più efficaci per la sicurezza dell’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ttiv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tezione da parte delle forze dell’ord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ertezza della pen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3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1171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collaborazione con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le forze dell’ord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taccheggio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 ha subit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blematiche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rincipali del territorio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venditori abusiv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ozi sfitt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1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nomad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96215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/>
          </p:cNvSpPr>
          <p:nvPr/>
        </p:nvSpPr>
        <p:spPr>
          <a:xfrm>
            <a:off x="324519" y="116632"/>
            <a:ext cx="763185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>
                <a:solidFill>
                  <a:srgbClr val="E95E0F"/>
                </a:solidFill>
              </a:rPr>
              <a:t>Il confronto tra i </a:t>
            </a:r>
            <a:r>
              <a:rPr lang="it-IT" dirty="0" smtClean="0">
                <a:solidFill>
                  <a:srgbClr val="E95E0F"/>
                </a:solidFill>
              </a:rPr>
              <a:t>risultati </a:t>
            </a:r>
            <a:r>
              <a:rPr lang="it-IT" dirty="0">
                <a:solidFill>
                  <a:srgbClr val="E95E0F"/>
                </a:solidFill>
              </a:rPr>
              <a:t>nazionali e regionali </a:t>
            </a:r>
          </a:p>
        </p:txBody>
      </p:sp>
      <p:graphicFrame>
        <p:nvGraphicFramePr>
          <p:cNvPr id="21" name="Tabel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1422320"/>
              </p:ext>
            </p:extLst>
          </p:nvPr>
        </p:nvGraphicFramePr>
        <p:xfrm>
          <a:off x="539553" y="1268760"/>
          <a:ext cx="7848871" cy="487222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83350"/>
                <a:gridCol w="3281345"/>
                <a:gridCol w="720080"/>
                <a:gridCol w="864096"/>
              </a:tblGrid>
              <a:tr h="361517"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Italia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Lazio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8771"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cezione 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 sicurezza per l’attiv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è peggiorat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4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7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imini aumentati di più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urt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1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usivism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3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traffazio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7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ap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sur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3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ngenti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negli appalti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torsione 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criminal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ndiretta e/o dirett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975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zioni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i protezione della propria impresa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meno una (telecamere, allarme, assicurazione, ..)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9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0819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iziative più efficaci per la sicurezza dell’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ttiv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tezione da parte delle forze dell’ord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ertezza della pen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1171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collaborazione con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le forze dell’ord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3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taccheggio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 ha subit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1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blematiche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rincipali del territorio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venditori abusiv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3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ozi sfitt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3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nomad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7289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/>
          </p:cNvSpPr>
          <p:nvPr/>
        </p:nvSpPr>
        <p:spPr>
          <a:xfrm>
            <a:off x="324519" y="116632"/>
            <a:ext cx="763185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>
                <a:solidFill>
                  <a:srgbClr val="E95E0F"/>
                </a:solidFill>
              </a:rPr>
              <a:t>Il confronto tra i risultati nazionali e regionali </a:t>
            </a:r>
          </a:p>
        </p:txBody>
      </p:sp>
      <p:graphicFrame>
        <p:nvGraphicFramePr>
          <p:cNvPr id="21" name="Tabel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5626979"/>
              </p:ext>
            </p:extLst>
          </p:nvPr>
        </p:nvGraphicFramePr>
        <p:xfrm>
          <a:off x="539553" y="1340768"/>
          <a:ext cx="7848871" cy="487222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83350"/>
                <a:gridCol w="3281345"/>
                <a:gridCol w="720080"/>
                <a:gridCol w="864096"/>
              </a:tblGrid>
              <a:tr h="361517"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Italia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Liguria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8771"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cezione 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 sicurezza per l’attiv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è peggiorat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7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imini aumentati di più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urt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usivism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traffazio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ap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9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sur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ngenti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negli appalti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torsione 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criminal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ndiretta e/o dirett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</a:t>
                      </a:r>
                      <a:endParaRPr lang="it-IT" sz="1400" b="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975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zioni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i protezione della propria impresa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meno una (telecamere, allarme, assicurazione, ..)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3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0819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iziative più efficaci per la sicurezza dell’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ttiv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tezione da parte delle forze dell’ord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ertezza della pen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2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1171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collaborazione con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le forze dell’ord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taccheggio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 ha subit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1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blematiche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rincipali del territorio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venditori abusiv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3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ozi sfitt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3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nomad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9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053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/>
          </p:cNvSpPr>
          <p:nvPr/>
        </p:nvSpPr>
        <p:spPr>
          <a:xfrm>
            <a:off x="324519" y="116632"/>
            <a:ext cx="763185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>
                <a:solidFill>
                  <a:srgbClr val="E95E0F"/>
                </a:solidFill>
              </a:rPr>
              <a:t>Il confronto tra i risultati nazionali e regionali </a:t>
            </a:r>
          </a:p>
        </p:txBody>
      </p:sp>
      <p:graphicFrame>
        <p:nvGraphicFramePr>
          <p:cNvPr id="4" name="Tabel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1246564"/>
              </p:ext>
            </p:extLst>
          </p:nvPr>
        </p:nvGraphicFramePr>
        <p:xfrm>
          <a:off x="179513" y="853013"/>
          <a:ext cx="8496942" cy="549259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135036"/>
                <a:gridCol w="3417691"/>
                <a:gridCol w="792088"/>
                <a:gridCol w="1152127"/>
              </a:tblGrid>
              <a:tr h="361517"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Italia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Lombardia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8771"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cezione </a:t>
                      </a:r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 sicurezza per l’attività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è peggiorata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7"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imini aumentati di più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urti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8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2</a:t>
                      </a:r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usivismo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traffazione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3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apine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sura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ngenti</a:t>
                      </a: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negli appalti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torsione 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criminalità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</a:t>
                      </a: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ndiretta e/o diretta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2"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utori delle mina</a:t>
                      </a:r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ce/intimidazioni 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linquenti comuni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200" u="none" strike="noStrike" kern="1200" dirty="0" smtClean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iminalità organizzata</a:t>
                      </a:r>
                      <a:endParaRPr lang="it-IT" sz="12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2"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atura delle minacce/intimidazioni</a:t>
                      </a:r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sione</a:t>
                      </a: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sicologica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9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anneggiamento a cose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isposta alla richiesta estorsiva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a accettato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7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97587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zioni</a:t>
                      </a:r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i protezione della propria impresa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meno una </a:t>
                      </a:r>
                      <a:r>
                        <a:rPr lang="it-IT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telecamere, allarme, assicurazione, ..)</a:t>
                      </a:r>
                      <a:endParaRPr lang="it-IT" sz="11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9</a:t>
                      </a:r>
                      <a:endParaRPr lang="it-IT" sz="12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0819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iziative più efficaci per la sicurezza dell’</a:t>
                      </a:r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ttività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</a:t>
                      </a: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tezione da parte delle forze dell’ordine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4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ertezza della pena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2</a:t>
                      </a:r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1171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collaborazione con</a:t>
                      </a: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le forze dell’ordine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taccheggio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 ha subito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blematiche</a:t>
                      </a:r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el territorio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venditori abusivi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3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ozi sfitti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nomadi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9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3958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/>
          </p:cNvSpPr>
          <p:nvPr/>
        </p:nvSpPr>
        <p:spPr>
          <a:xfrm>
            <a:off x="324519" y="116632"/>
            <a:ext cx="763185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>
                <a:solidFill>
                  <a:srgbClr val="E95E0F"/>
                </a:solidFill>
              </a:rPr>
              <a:t>Il confronto tra i risultati nazionali e regionali </a:t>
            </a:r>
          </a:p>
        </p:txBody>
      </p:sp>
      <p:graphicFrame>
        <p:nvGraphicFramePr>
          <p:cNvPr id="21" name="Tabel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169167"/>
              </p:ext>
            </p:extLst>
          </p:nvPr>
        </p:nvGraphicFramePr>
        <p:xfrm>
          <a:off x="179513" y="1268760"/>
          <a:ext cx="8640959" cy="471679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45813"/>
                <a:gridCol w="3710970"/>
                <a:gridCol w="720080"/>
                <a:gridCol w="864096"/>
              </a:tblGrid>
              <a:tr h="361517"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Italia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Marche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8771"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cezione 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 sicurezza per l’attiv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è peggiorat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7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imini aumentati di più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urt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1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usivism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traffazio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ap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sur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3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ngenti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negli appalti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torsione 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criminal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ndiretta e/o dirett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975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zioni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i protezione della propria impresa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meno una (telecamere, allarme, assicurazione, ..)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4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0819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iziative più efficaci per la sicurezza dell’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ttiv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tezione da parte delle forze dell’ord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9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ertezza della pen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1171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collaborazione con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le forze dell’ord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3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taccheggio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 ha subit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6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blematiche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rincipali del territorio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venditori abusiv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2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ozi sfitt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7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nomad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8574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/>
          </p:cNvSpPr>
          <p:nvPr/>
        </p:nvSpPr>
        <p:spPr>
          <a:xfrm>
            <a:off x="324519" y="116632"/>
            <a:ext cx="763185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>
                <a:solidFill>
                  <a:srgbClr val="E95E0F"/>
                </a:solidFill>
              </a:rPr>
              <a:t>Il confronto tra i risultati nazionali e regionali </a:t>
            </a:r>
          </a:p>
        </p:txBody>
      </p:sp>
      <p:graphicFrame>
        <p:nvGraphicFramePr>
          <p:cNvPr id="21" name="Tabel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4699972"/>
              </p:ext>
            </p:extLst>
          </p:nvPr>
        </p:nvGraphicFramePr>
        <p:xfrm>
          <a:off x="179513" y="1458219"/>
          <a:ext cx="8640959" cy="471679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45813"/>
                <a:gridCol w="3710970"/>
                <a:gridCol w="720080"/>
                <a:gridCol w="864096"/>
              </a:tblGrid>
              <a:tr h="361517"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Italia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Molise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8771"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cezione 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 sicurezza per l’attiv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è peggiorat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9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7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imini aumentati di più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urt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usivism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traffazio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9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ap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sur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ngenti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negli appalti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torsione 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9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criminal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ndiretta e/o dirett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975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zioni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i protezione della propria impresa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meno una (telecamere, allarme, assicurazione, ..)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  <a:endParaRPr lang="it-IT" sz="14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0819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iziative più efficaci per la sicurezza dell’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ttiv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tezione da parte delle forze dell’ord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4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ertezza della pen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1171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collaborazione con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le forze dell’ord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taccheggio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 ha subit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2</a:t>
                      </a:r>
                      <a:endParaRPr lang="it-IT" sz="14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blematiche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rincipali del territorio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venditori abusiv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7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ozi sfitt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1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nomad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78026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/>
          </p:cNvSpPr>
          <p:nvPr/>
        </p:nvSpPr>
        <p:spPr>
          <a:xfrm>
            <a:off x="324519" y="116632"/>
            <a:ext cx="763185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>
                <a:solidFill>
                  <a:srgbClr val="E95E0F"/>
                </a:solidFill>
              </a:rPr>
              <a:t>Il confronto tra i risultati nazionali e regionali </a:t>
            </a:r>
          </a:p>
        </p:txBody>
      </p:sp>
      <p:graphicFrame>
        <p:nvGraphicFramePr>
          <p:cNvPr id="21" name="Tabel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3544138"/>
              </p:ext>
            </p:extLst>
          </p:nvPr>
        </p:nvGraphicFramePr>
        <p:xfrm>
          <a:off x="467545" y="1340768"/>
          <a:ext cx="8064895" cy="487222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83350"/>
                <a:gridCol w="3419939"/>
                <a:gridCol w="653494"/>
                <a:gridCol w="1008112"/>
              </a:tblGrid>
              <a:tr h="361517"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Italia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Piemonte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8771"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cezione 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 sicurezza per l’attiv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è peggiorat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3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7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imini aumentati di più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urt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usivism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traffazio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ap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1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sur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ngenti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negli appalti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torsione 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criminal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ndiretta e/o dirett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975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zioni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i protezione della propria impresa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meno una (telecamere, allarme, assicurazione, ..)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0819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iziative più efficaci per la sicurezza dell’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ttiv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tezione da parte delle forze dell’ord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ertezza della pen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1171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collaborazione con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le forze dell’ord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taccheggio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 ha subit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blematiche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rincipali del territorio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venditori abusiv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ozi sfitt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nomad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2266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/>
          </p:cNvSpPr>
          <p:nvPr/>
        </p:nvSpPr>
        <p:spPr>
          <a:xfrm>
            <a:off x="324519" y="116632"/>
            <a:ext cx="763185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>
                <a:solidFill>
                  <a:srgbClr val="E95E0F"/>
                </a:solidFill>
              </a:rPr>
              <a:t>Il confronto tra i risultati nazionali e regionali </a:t>
            </a:r>
          </a:p>
        </p:txBody>
      </p:sp>
      <p:graphicFrame>
        <p:nvGraphicFramePr>
          <p:cNvPr id="6" name="Tabel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1979326"/>
              </p:ext>
            </p:extLst>
          </p:nvPr>
        </p:nvGraphicFramePr>
        <p:xfrm>
          <a:off x="511089" y="918329"/>
          <a:ext cx="7445287" cy="566475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20105"/>
                <a:gridCol w="2996990"/>
                <a:gridCol w="792088"/>
                <a:gridCol w="936104"/>
              </a:tblGrid>
              <a:tr h="361517"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Italia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Puglia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8771"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cezione </a:t>
                      </a:r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 sicurezza per l’attività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è peggiorata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7"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imini aumentati di più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urti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8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6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usivismo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6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traffazione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apine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9</a:t>
                      </a:r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sura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9</a:t>
                      </a:r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ngenti</a:t>
                      </a: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negli appalti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7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torsione 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</a:t>
                      </a:r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criminalità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</a:t>
                      </a: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ndiretta e/o diretta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2</a:t>
                      </a:r>
                      <a:endParaRPr lang="it-IT" sz="12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2"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utori delle mina</a:t>
                      </a:r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ce/intimidazioni 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linquenti comuni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7</a:t>
                      </a:r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200" u="none" strike="noStrike" kern="1200" dirty="0" smtClean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iminalità organizzata</a:t>
                      </a:r>
                      <a:endParaRPr lang="it-IT" sz="12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</a:t>
                      </a:r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2"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atura delle minacce/intimidazioni</a:t>
                      </a:r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sione</a:t>
                      </a: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sicologica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9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3</a:t>
                      </a:r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anneggiamento a cose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7</a:t>
                      </a:r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isposta alla richiesta estorsiva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a accettato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7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97587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zioni</a:t>
                      </a:r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i protezione della propria impresa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meno una (telecamere, allarme, assicurazione, ..)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200" b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0819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iziative più efficaci per la sicurezza dell’</a:t>
                      </a:r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ttività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</a:t>
                      </a: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tezione da parte delle forze dell’ordine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4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1</a:t>
                      </a:r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ertezza della pena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2</a:t>
                      </a:r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1171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collaborazione con</a:t>
                      </a: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le forze dell’ordine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taccheggio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 ha subito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blematiche</a:t>
                      </a:r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el territorio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venditori abusivi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4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ozi sfitti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nomadi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1065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/>
          </p:cNvSpPr>
          <p:nvPr/>
        </p:nvSpPr>
        <p:spPr>
          <a:xfrm>
            <a:off x="324519" y="116632"/>
            <a:ext cx="763185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>
                <a:solidFill>
                  <a:srgbClr val="E95E0F"/>
                </a:solidFill>
              </a:rPr>
              <a:t>Il confronto tra i risultati nazionali e regionali </a:t>
            </a:r>
          </a:p>
        </p:txBody>
      </p:sp>
      <p:graphicFrame>
        <p:nvGraphicFramePr>
          <p:cNvPr id="21" name="Tabel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2190064"/>
              </p:ext>
            </p:extLst>
          </p:nvPr>
        </p:nvGraphicFramePr>
        <p:xfrm>
          <a:off x="179513" y="1340768"/>
          <a:ext cx="8784976" cy="471679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401577"/>
                <a:gridCol w="3655206"/>
                <a:gridCol w="720080"/>
                <a:gridCol w="1008113"/>
              </a:tblGrid>
              <a:tr h="361517"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Italia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Sardegna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8771"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cezione 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 sicurezza per l’attiv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è peggiorat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7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imini aumentati di più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urt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usivism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traffazio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1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ap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sur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ngenti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negli appalti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3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torsione 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criminal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ndiretta e/o dirett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975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zioni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i protezione della propria impresa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meno una (telecamere, allarme, assicurazione, ..)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6</a:t>
                      </a:r>
                      <a:endParaRPr lang="it-IT" sz="14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0819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iziative più efficaci per la sicurezza dell’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ttiv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tezione da parte delle forze dell’ord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1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ertezza della pen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1171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collaborazione con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le forze dell’ord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taccheggio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 ha subit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blematiche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rincipali del territorio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venditori abusiv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9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ozi sfitt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nomad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5274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323850" y="1988691"/>
            <a:ext cx="8496300" cy="1584325"/>
          </a:xfrm>
        </p:spPr>
        <p:txBody>
          <a:bodyPr/>
          <a:lstStyle/>
          <a:p>
            <a:r>
              <a:rPr lang="it-IT" dirty="0" smtClean="0">
                <a:latin typeface="Century Gothic" panose="020B0502020202020204" pitchFamily="34" charset="0"/>
              </a:rPr>
              <a:t>Sintesi dei principali risultati</a:t>
            </a:r>
            <a:endParaRPr lang="it-IT" dirty="0">
              <a:latin typeface="Century Gothic" panose="020B0502020202020204" pitchFamily="34" charset="0"/>
            </a:endParaRPr>
          </a:p>
        </p:txBody>
      </p:sp>
      <p:grpSp>
        <p:nvGrpSpPr>
          <p:cNvPr id="18" name="Gruppo 17"/>
          <p:cNvGrpSpPr/>
          <p:nvPr/>
        </p:nvGrpSpPr>
        <p:grpSpPr>
          <a:xfrm>
            <a:off x="-18000" y="5381751"/>
            <a:ext cx="9180000" cy="1476249"/>
            <a:chOff x="-15129" y="1545126"/>
            <a:chExt cx="14893201" cy="1476249"/>
          </a:xfrm>
        </p:grpSpPr>
        <p:pic>
          <p:nvPicPr>
            <p:cNvPr id="5" name="Immagine 4"/>
            <p:cNvPicPr preferRelativeResize="0">
              <a:picLocks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15129" y="1552575"/>
              <a:ext cx="2484000" cy="1468800"/>
            </a:xfrm>
            <a:prstGeom prst="rect">
              <a:avLst/>
            </a:prstGeom>
          </p:spPr>
        </p:pic>
        <p:pic>
          <p:nvPicPr>
            <p:cNvPr id="6" name="Immagine 5"/>
            <p:cNvPicPr preferRelativeResize="0">
              <a:picLocks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11321" y="1545127"/>
              <a:ext cx="2482751" cy="1468800"/>
            </a:xfrm>
            <a:prstGeom prst="rect">
              <a:avLst/>
            </a:prstGeom>
          </p:spPr>
        </p:pic>
        <p:pic>
          <p:nvPicPr>
            <p:cNvPr id="7" name="Immagine 6"/>
            <p:cNvPicPr preferRelativeResize="0">
              <a:picLocks/>
            </p:cNvPicPr>
            <p:nvPr/>
          </p:nvPicPr>
          <p:blipFill rotWithShape="1">
            <a:blip r:embed="rId4"/>
            <a:srcRect r="5847" b="12367"/>
            <a:stretch/>
          </p:blipFill>
          <p:spPr>
            <a:xfrm>
              <a:off x="4942072" y="1545126"/>
              <a:ext cx="2484000" cy="1468800"/>
            </a:xfrm>
            <a:prstGeom prst="rect">
              <a:avLst/>
            </a:prstGeom>
          </p:spPr>
        </p:pic>
        <p:pic>
          <p:nvPicPr>
            <p:cNvPr id="8" name="Immagine 7"/>
            <p:cNvPicPr preferRelativeResize="0">
              <a:picLocks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2394072" y="1545127"/>
              <a:ext cx="2484000" cy="1468800"/>
            </a:xfrm>
            <a:prstGeom prst="rect">
              <a:avLst/>
            </a:prstGeom>
          </p:spPr>
        </p:pic>
        <p:pic>
          <p:nvPicPr>
            <p:cNvPr id="9" name="Immagine 8"/>
            <p:cNvPicPr preferRelativeResize="0">
              <a:picLocks/>
            </p:cNvPicPr>
            <p:nvPr/>
          </p:nvPicPr>
          <p:blipFill rotWithShape="1">
            <a:blip r:embed="rId6"/>
            <a:srcRect t="7046" b="4812"/>
            <a:stretch/>
          </p:blipFill>
          <p:spPr>
            <a:xfrm>
              <a:off x="7426072" y="1545127"/>
              <a:ext cx="2484000" cy="1469308"/>
            </a:xfrm>
            <a:prstGeom prst="rect">
              <a:avLst/>
            </a:prstGeom>
          </p:spPr>
        </p:pic>
        <p:pic>
          <p:nvPicPr>
            <p:cNvPr id="10" name="Immagine 9"/>
            <p:cNvPicPr preferRelativeResize="0">
              <a:picLocks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53641" y="1545127"/>
              <a:ext cx="2484000" cy="1468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1999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/>
          </p:cNvSpPr>
          <p:nvPr/>
        </p:nvSpPr>
        <p:spPr>
          <a:xfrm>
            <a:off x="324519" y="116632"/>
            <a:ext cx="763185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>
                <a:solidFill>
                  <a:srgbClr val="E95E0F"/>
                </a:solidFill>
              </a:rPr>
              <a:t>Il confronto tra i risultati nazionali e regionali </a:t>
            </a:r>
          </a:p>
        </p:txBody>
      </p:sp>
      <p:graphicFrame>
        <p:nvGraphicFramePr>
          <p:cNvPr id="6" name="Tabel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1203819"/>
              </p:ext>
            </p:extLst>
          </p:nvPr>
        </p:nvGraphicFramePr>
        <p:xfrm>
          <a:off x="583097" y="918329"/>
          <a:ext cx="7445287" cy="566475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20105"/>
                <a:gridCol w="2996990"/>
                <a:gridCol w="792088"/>
                <a:gridCol w="936104"/>
              </a:tblGrid>
              <a:tr h="361517"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Italia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Sicilia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8771"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cezione </a:t>
                      </a:r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 sicurezza per l’attività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è peggiorata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2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7"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imini aumentati di più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urti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8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0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usivismo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9</a:t>
                      </a:r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traffazione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apine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4</a:t>
                      </a:r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sura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4</a:t>
                      </a:r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ngenti</a:t>
                      </a: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negli appalti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7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torsione 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criminalità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</a:t>
                      </a: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ndiretta e/o diretta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</a:t>
                      </a:r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2"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utori delle mina</a:t>
                      </a:r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ce/intimidazioni 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linquenti comuni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</a:t>
                      </a:r>
                      <a:endParaRPr lang="it-IT" sz="12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200" u="none" strike="noStrike" kern="1200" dirty="0" smtClean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iminalità organizzata</a:t>
                      </a:r>
                      <a:endParaRPr lang="it-IT" sz="12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3</a:t>
                      </a:r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2"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atura delle minacce/intimidazioni</a:t>
                      </a:r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sione</a:t>
                      </a: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sicologica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9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3</a:t>
                      </a:r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anneggiamento a cose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</a:t>
                      </a:r>
                      <a:endParaRPr lang="it-IT" sz="12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isposta alla richiesta estorsiva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a accettato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7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9</a:t>
                      </a:r>
                      <a:endParaRPr lang="it-IT" sz="12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97587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zioni</a:t>
                      </a:r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i protezione della propria impresa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meno una (telecamere, allarme, assicurazione, ..)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3</a:t>
                      </a:r>
                      <a:endParaRPr lang="it-IT" sz="1200" b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0819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iziative più efficaci per la sicurezza dell’</a:t>
                      </a:r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ttività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</a:t>
                      </a: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tezione da parte delle forze dell’ordine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4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4</a:t>
                      </a:r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ertezza della pena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1171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collaborazione con</a:t>
                      </a: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le forze dell’ordine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taccheggio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 ha subito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blematiche</a:t>
                      </a:r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el territorio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venditori abusivi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9</a:t>
                      </a:r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ozi sfitti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nomadi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20296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/>
          </p:cNvSpPr>
          <p:nvPr/>
        </p:nvSpPr>
        <p:spPr>
          <a:xfrm>
            <a:off x="324519" y="116632"/>
            <a:ext cx="763185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>
                <a:solidFill>
                  <a:srgbClr val="E95E0F"/>
                </a:solidFill>
              </a:rPr>
              <a:t>Il confronto tra i risultati nazionali e regionali </a:t>
            </a:r>
          </a:p>
        </p:txBody>
      </p:sp>
      <p:graphicFrame>
        <p:nvGraphicFramePr>
          <p:cNvPr id="21" name="Tabel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7970508"/>
              </p:ext>
            </p:extLst>
          </p:nvPr>
        </p:nvGraphicFramePr>
        <p:xfrm>
          <a:off x="467545" y="1365091"/>
          <a:ext cx="7848871" cy="487222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83350"/>
                <a:gridCol w="3281345"/>
                <a:gridCol w="720080"/>
                <a:gridCol w="864096"/>
              </a:tblGrid>
              <a:tr h="361517"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Italia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Toscana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8771"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cezione 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 sicurezza per l’attiv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è peggiorat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7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imini aumentati di più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urt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usivism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traffazio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ap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1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sur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9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ngenti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negli appalti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torsione 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7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criminal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ndiretta e/o dirett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975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zioni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i protezione della propria impresa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meno una (telecamere, allarme, assicurazione, ..)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0819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iziative più efficaci per la sicurezza dell’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ttiv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tezione da parte delle forze dell’ord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1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ertezza della pen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9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1171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collaborazione con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le forze dell’ord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taccheggio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 ha subit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0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blematiche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rincipali del territorio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venditori abusiv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3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ozi sfitt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1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nomad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3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07755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/>
          </p:cNvSpPr>
          <p:nvPr/>
        </p:nvSpPr>
        <p:spPr>
          <a:xfrm>
            <a:off x="324519" y="116632"/>
            <a:ext cx="763185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>
                <a:solidFill>
                  <a:srgbClr val="E95E0F"/>
                </a:solidFill>
              </a:rPr>
              <a:t>Il confronto tra i risultati nazionali e regionali </a:t>
            </a:r>
          </a:p>
        </p:txBody>
      </p:sp>
      <p:graphicFrame>
        <p:nvGraphicFramePr>
          <p:cNvPr id="21" name="Tabel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1689186"/>
              </p:ext>
            </p:extLst>
          </p:nvPr>
        </p:nvGraphicFramePr>
        <p:xfrm>
          <a:off x="179512" y="1124744"/>
          <a:ext cx="8640959" cy="508255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45813"/>
                <a:gridCol w="3638962"/>
                <a:gridCol w="792088"/>
                <a:gridCol w="864096"/>
              </a:tblGrid>
              <a:tr h="361517"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Italia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Trentino Alto Adige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8771"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cezione 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 sicurezza per l’attiv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è peggiorat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  <a:endParaRPr lang="it-IT" sz="1400" b="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7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imini aumentati di più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urt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9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usivism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traffazio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ap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sur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ngenti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negli appalti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torsione 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criminal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ndiretta e/o dirett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975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zioni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i protezione della propria impresa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meno una (telecamere, allarme, assicurazione, ..)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5</a:t>
                      </a:r>
                      <a:endParaRPr lang="it-IT" sz="14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0819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iziative più efficaci per la sicurezza dell’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ttiv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tezione da parte delle forze dell’ord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ertezza della pen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1171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collaborazione con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le forze dell’ord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3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taccheggio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 ha subit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blematiche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rincipali del territorio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venditori abusiv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ozi sfitt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nomad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84829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/>
          </p:cNvSpPr>
          <p:nvPr/>
        </p:nvSpPr>
        <p:spPr>
          <a:xfrm>
            <a:off x="324519" y="116632"/>
            <a:ext cx="763185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 smtClean="0">
                <a:solidFill>
                  <a:srgbClr val="E95E0F"/>
                </a:solidFill>
              </a:rPr>
              <a:t>I risultati della ricerca in sintesi …</a:t>
            </a:r>
          </a:p>
        </p:txBody>
      </p:sp>
      <p:graphicFrame>
        <p:nvGraphicFramePr>
          <p:cNvPr id="21" name="Tabel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667319"/>
              </p:ext>
            </p:extLst>
          </p:nvPr>
        </p:nvGraphicFramePr>
        <p:xfrm>
          <a:off x="179513" y="1458219"/>
          <a:ext cx="8640959" cy="471679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45813"/>
                <a:gridCol w="3710970"/>
                <a:gridCol w="720080"/>
                <a:gridCol w="864096"/>
              </a:tblGrid>
              <a:tr h="361517"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Italia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Umbria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8771"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cezione 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 sicurezza per l’attiv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è peggiorat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7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imini aumentati di più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urt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usivism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traffazio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ap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sur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ngenti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negli appalti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torsione 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criminal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ndiretta e/o dirett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975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zioni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i protezione della propria impresa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meno una (telecamere, allarme, assicurazione, ..)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8</a:t>
                      </a:r>
                      <a:endParaRPr lang="it-IT" sz="14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0819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iziative più efficaci per la sicurezza dell’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ttiv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tezione da parte delle forze dell’ord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ertezza della pen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1171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collaborazione con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le forze dell’ord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8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taccheggio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 ha subit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6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blematiche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rincipali del territorio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venditori abusiv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ozi sfitt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3</a:t>
                      </a:r>
                      <a:endParaRPr lang="it-IT" sz="14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nomad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9849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/>
          </p:cNvSpPr>
          <p:nvPr/>
        </p:nvSpPr>
        <p:spPr>
          <a:xfrm>
            <a:off x="324519" y="116632"/>
            <a:ext cx="763185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>
                <a:solidFill>
                  <a:srgbClr val="E95E0F"/>
                </a:solidFill>
              </a:rPr>
              <a:t>Il confronto tra i risultati nazionali e regionali </a:t>
            </a:r>
          </a:p>
        </p:txBody>
      </p:sp>
      <p:graphicFrame>
        <p:nvGraphicFramePr>
          <p:cNvPr id="21" name="Tabel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6224701"/>
              </p:ext>
            </p:extLst>
          </p:nvPr>
        </p:nvGraphicFramePr>
        <p:xfrm>
          <a:off x="179513" y="1458219"/>
          <a:ext cx="8640959" cy="483871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45813"/>
                <a:gridCol w="3710970"/>
                <a:gridCol w="720080"/>
                <a:gridCol w="864096"/>
              </a:tblGrid>
              <a:tr h="361517"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Italia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Valle</a:t>
                      </a:r>
                    </a:p>
                    <a:p>
                      <a:pPr algn="ctr" fontAlgn="b"/>
                      <a:r>
                        <a:rPr lang="it-IT" sz="1600" b="1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d’Aosta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8771"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cezione 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 sicurezza per l’attiv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è peggiorat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7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imini aumentati di più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urt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usivism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3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traffazio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1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ap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sur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ngenti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negli appalti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torsione 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1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criminal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ndiretta e/o dirett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975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zioni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i protezione della propria impresa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meno una (telecamere, allarme, assicurazione, ..)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5</a:t>
                      </a:r>
                      <a:endParaRPr lang="it-IT" sz="14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0819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iziative più efficaci per la sicurezza dell’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ttività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tezione da parte delle forze dell’ord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ertezza della pena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1171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collaborazione con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le forze dell’ordin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9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taccheggio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 ha subit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1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4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blematiche</a:t>
                      </a:r>
                      <a:r>
                        <a:rPr lang="it-IT" sz="14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rincipali del territorio</a:t>
                      </a:r>
                      <a:endParaRPr lang="it-IT" sz="14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venditori abusiv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1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ozi sfitt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1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nomad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00495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/>
          </p:cNvSpPr>
          <p:nvPr/>
        </p:nvSpPr>
        <p:spPr>
          <a:xfrm>
            <a:off x="324519" y="116632"/>
            <a:ext cx="763185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>
                <a:solidFill>
                  <a:srgbClr val="E95E0F"/>
                </a:solidFill>
              </a:rPr>
              <a:t>Il confronto tra i risultati nazionali e regionali </a:t>
            </a:r>
          </a:p>
        </p:txBody>
      </p:sp>
      <p:graphicFrame>
        <p:nvGraphicFramePr>
          <p:cNvPr id="6" name="Tabel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9278269"/>
              </p:ext>
            </p:extLst>
          </p:nvPr>
        </p:nvGraphicFramePr>
        <p:xfrm>
          <a:off x="223057" y="918329"/>
          <a:ext cx="8496942" cy="566475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20105"/>
                <a:gridCol w="2996990"/>
                <a:gridCol w="792088"/>
                <a:gridCol w="936104"/>
                <a:gridCol w="1051655"/>
              </a:tblGrid>
              <a:tr h="361517"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24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Italia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Veneto</a:t>
                      </a:r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600" b="1" u="none" strike="noStrike" kern="1200" dirty="0">
                        <a:solidFill>
                          <a:srgbClr val="E95E0F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8771"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it-IT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0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cezione </a:t>
                      </a:r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 sicurezza per l’attività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è peggiorata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7"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imini aumentati di più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urti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8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9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usivismo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4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traffazione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apine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9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sura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ngenti</a:t>
                      </a: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negli appalti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</a:t>
                      </a:r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764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torsione 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criminalità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</a:t>
                      </a: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ndiretta e/o diretta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</a:t>
                      </a:r>
                      <a:endParaRPr lang="it-IT" sz="12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2"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utori delle mina</a:t>
                      </a:r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ce/intimidazioni 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linquenti comuni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9</a:t>
                      </a:r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200" u="none" strike="noStrike" kern="1200" dirty="0" smtClean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iminalità organizzata</a:t>
                      </a:r>
                      <a:endParaRPr lang="it-IT" sz="12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2"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atura delle minacce/intimidazioni</a:t>
                      </a:r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sione</a:t>
                      </a: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sicologica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9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7</a:t>
                      </a:r>
                      <a:endParaRPr lang="it-IT" sz="12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anneggiamento a cose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6</a:t>
                      </a:r>
                      <a:endParaRPr lang="it-IT" sz="12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isposta alla richiesta estorsiva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a accettato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7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  <a:endParaRPr lang="it-IT" sz="12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97587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zioni</a:t>
                      </a:r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i protezione della propria impresa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meno una </a:t>
                      </a:r>
                      <a:r>
                        <a:rPr lang="it-IT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telecamere, allarme, assicurazione, ..)</a:t>
                      </a:r>
                      <a:endParaRPr lang="it-IT" sz="11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6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0819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iziative più efficaci per la sicurezza dell’</a:t>
                      </a:r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ttività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</a:t>
                      </a: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tezione da parte delle forze dell’ordine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4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0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ertezza della pena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8</a:t>
                      </a:r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1171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ù collaborazione con</a:t>
                      </a:r>
                      <a:r>
                        <a:rPr lang="it-IT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le forze dell’ordine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9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perienza di taccheggio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ì, ha subito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rowSpan="3">
                  <a:txBody>
                    <a:bodyPr/>
                    <a:lstStyle/>
                    <a:p>
                      <a:pPr algn="l" fontAlgn="b"/>
                      <a:r>
                        <a:rPr lang="it-IT" sz="1200" b="0" u="none" strike="noStrike" kern="120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blematiche</a:t>
                      </a:r>
                      <a:r>
                        <a:rPr lang="it-IT" sz="1200" b="0" u="none" strike="noStrike" kern="1200" baseline="0" dirty="0" smtClean="0">
                          <a:solidFill>
                            <a:srgbClr val="E95E0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el territorio</a:t>
                      </a:r>
                      <a:endParaRPr lang="it-IT" sz="1200" b="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venditori abusivi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8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ozi sfitti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4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4708">
                <a:tc vMerge="1">
                  <a:txBody>
                    <a:bodyPr/>
                    <a:lstStyle/>
                    <a:p>
                      <a:pPr algn="l" fontAlgn="b"/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senza di nomadi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3</a:t>
                      </a:r>
                      <a:endParaRPr lang="it-IT" sz="12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1200" u="none" strike="noStrike" kern="1200" dirty="0">
                        <a:solidFill>
                          <a:srgbClr val="E95E0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46749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323850" y="1988691"/>
            <a:ext cx="8496300" cy="1584325"/>
          </a:xfrm>
        </p:spPr>
        <p:txBody>
          <a:bodyPr/>
          <a:lstStyle/>
          <a:p>
            <a:r>
              <a:rPr lang="it-IT" dirty="0" smtClean="0">
                <a:latin typeface="Century Gothic" panose="020B0502020202020204" pitchFamily="34" charset="0"/>
              </a:rPr>
              <a:t>Allegato: la metodologia</a:t>
            </a:r>
            <a:endParaRPr lang="it-IT" dirty="0">
              <a:latin typeface="Century Gothic" panose="020B0502020202020204" pitchFamily="34" charset="0"/>
            </a:endParaRPr>
          </a:p>
        </p:txBody>
      </p:sp>
      <p:grpSp>
        <p:nvGrpSpPr>
          <p:cNvPr id="18" name="Gruppo 17"/>
          <p:cNvGrpSpPr/>
          <p:nvPr/>
        </p:nvGrpSpPr>
        <p:grpSpPr>
          <a:xfrm>
            <a:off x="-18000" y="5381751"/>
            <a:ext cx="9180000" cy="1476249"/>
            <a:chOff x="-15129" y="1545126"/>
            <a:chExt cx="14893201" cy="1476249"/>
          </a:xfrm>
        </p:grpSpPr>
        <p:pic>
          <p:nvPicPr>
            <p:cNvPr id="5" name="Immagine 4"/>
            <p:cNvPicPr preferRelativeResize="0">
              <a:picLocks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15129" y="1552575"/>
              <a:ext cx="2484000" cy="1468800"/>
            </a:xfrm>
            <a:prstGeom prst="rect">
              <a:avLst/>
            </a:prstGeom>
          </p:spPr>
        </p:pic>
        <p:pic>
          <p:nvPicPr>
            <p:cNvPr id="6" name="Immagine 5"/>
            <p:cNvPicPr preferRelativeResize="0">
              <a:picLocks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11321" y="1545127"/>
              <a:ext cx="2482751" cy="1468800"/>
            </a:xfrm>
            <a:prstGeom prst="rect">
              <a:avLst/>
            </a:prstGeom>
          </p:spPr>
        </p:pic>
        <p:pic>
          <p:nvPicPr>
            <p:cNvPr id="7" name="Immagine 6"/>
            <p:cNvPicPr preferRelativeResize="0">
              <a:picLocks/>
            </p:cNvPicPr>
            <p:nvPr/>
          </p:nvPicPr>
          <p:blipFill rotWithShape="1">
            <a:blip r:embed="rId4"/>
            <a:srcRect r="5847" b="12367"/>
            <a:stretch/>
          </p:blipFill>
          <p:spPr>
            <a:xfrm>
              <a:off x="4942072" y="1545126"/>
              <a:ext cx="2484000" cy="1468800"/>
            </a:xfrm>
            <a:prstGeom prst="rect">
              <a:avLst/>
            </a:prstGeom>
          </p:spPr>
        </p:pic>
        <p:pic>
          <p:nvPicPr>
            <p:cNvPr id="8" name="Immagine 7"/>
            <p:cNvPicPr preferRelativeResize="0">
              <a:picLocks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2394072" y="1545127"/>
              <a:ext cx="2484000" cy="1468800"/>
            </a:xfrm>
            <a:prstGeom prst="rect">
              <a:avLst/>
            </a:prstGeom>
          </p:spPr>
        </p:pic>
        <p:pic>
          <p:nvPicPr>
            <p:cNvPr id="9" name="Immagine 8"/>
            <p:cNvPicPr preferRelativeResize="0">
              <a:picLocks/>
            </p:cNvPicPr>
            <p:nvPr/>
          </p:nvPicPr>
          <p:blipFill rotWithShape="1">
            <a:blip r:embed="rId6"/>
            <a:srcRect t="7046" b="4812"/>
            <a:stretch/>
          </p:blipFill>
          <p:spPr>
            <a:xfrm>
              <a:off x="7426072" y="1545127"/>
              <a:ext cx="2484000" cy="1469308"/>
            </a:xfrm>
            <a:prstGeom prst="rect">
              <a:avLst/>
            </a:prstGeom>
          </p:spPr>
        </p:pic>
        <p:pic>
          <p:nvPicPr>
            <p:cNvPr id="10" name="Immagine 9"/>
            <p:cNvPicPr preferRelativeResize="0">
              <a:picLocks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53641" y="1545127"/>
              <a:ext cx="2484000" cy="1468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51037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"/>
          <p:cNvSpPr txBox="1">
            <a:spLocks noChangeAspect="1" noChangeArrowheads="1"/>
          </p:cNvSpPr>
          <p:nvPr/>
        </p:nvSpPr>
        <p:spPr bwMode="auto">
          <a:xfrm>
            <a:off x="323528" y="80592"/>
            <a:ext cx="5375083" cy="720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 smtClean="0"/>
              <a:t>Metodologia</a:t>
            </a:r>
            <a:endParaRPr lang="it-IT" dirty="0"/>
          </a:p>
        </p:txBody>
      </p:sp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316856" y="1340768"/>
            <a:ext cx="8424863" cy="3259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175" indent="-3175" eaLnBrk="0" hangingPunct="0">
              <a:defRPr b="1" i="1">
                <a:solidFill>
                  <a:schemeClr val="tx1"/>
                </a:solidFill>
                <a:latin typeface="Arial" charset="0"/>
              </a:defRPr>
            </a:lvl1pPr>
            <a:lvl2pPr marL="877888" indent="-342900" eaLnBrk="0" hangingPunct="0">
              <a:defRPr b="1" i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 i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 i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 i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just" eaLnBrk="1" hangingPunct="1">
              <a:lnSpc>
                <a:spcPct val="120000"/>
              </a:lnSpc>
              <a:spcBef>
                <a:spcPct val="50000"/>
              </a:spcBef>
            </a:pPr>
            <a:r>
              <a:rPr lang="it-IT" altLang="it-IT" sz="1400" b="0" i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Come nel 2007, l’indagine del 2014 è </a:t>
            </a:r>
            <a:r>
              <a:rPr lang="it-IT" altLang="it-IT" sz="1400" b="0" i="0" dirty="0">
                <a:latin typeface="Century Gothic" panose="020B0502020202020204" pitchFamily="34" charset="0"/>
                <a:cs typeface="Arial" panose="020B0604020202020204" pitchFamily="34" charset="0"/>
              </a:rPr>
              <a:t>stata realizzata </a:t>
            </a:r>
            <a:r>
              <a:rPr lang="it-IT" altLang="it-IT" sz="1400" i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tramite spedizione postale </a:t>
            </a:r>
            <a:r>
              <a:rPr lang="it-IT" altLang="it-IT" sz="1400" b="0" i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di questionari </a:t>
            </a:r>
            <a:r>
              <a:rPr lang="it-IT" altLang="it-IT" sz="1400" i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60.000 questionari</a:t>
            </a:r>
            <a:r>
              <a:rPr lang="it-IT" altLang="it-IT" sz="1400" b="0" i="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it-IT" altLang="it-IT" sz="1400" b="0" i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e, quest’anno, anche via web. Entrambe</a:t>
            </a:r>
            <a:r>
              <a:rPr lang="it-IT" altLang="it-IT" sz="1400" i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 le rilevazioni sono state chiuse a fine ottobre.</a:t>
            </a:r>
          </a:p>
          <a:p>
            <a:pPr algn="just" eaLnBrk="1" hangingPunct="1">
              <a:lnSpc>
                <a:spcPct val="120000"/>
              </a:lnSpc>
              <a:spcBef>
                <a:spcPct val="50000"/>
              </a:spcBef>
            </a:pPr>
            <a:r>
              <a:rPr lang="it-IT" altLang="it-IT" sz="1400" b="0" i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Via posta sono stati ottenuti 4.302 questionari, con un tasso di risposta del 7,2% e via web 1.578 questionari. </a:t>
            </a:r>
            <a:r>
              <a:rPr lang="it-IT" altLang="it-IT" sz="1400" i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Nel complesso</a:t>
            </a:r>
            <a:r>
              <a:rPr lang="it-IT" altLang="it-IT" sz="1400" b="0" i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, quindi, </a:t>
            </a:r>
            <a:r>
              <a:rPr lang="it-IT" altLang="it-IT" sz="1400" i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hanno risposto</a:t>
            </a:r>
            <a:r>
              <a:rPr lang="it-IT" altLang="it-IT" sz="1400" b="0" i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it-IT" altLang="it-IT" sz="1400" i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quasi 6.000 imprese del commercio, del turismo, dei servizi e dei trasporti</a:t>
            </a:r>
            <a:r>
              <a:rPr lang="it-IT" altLang="it-IT" sz="1400" b="0" i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  <a:endParaRPr lang="it-IT" altLang="it-IT" sz="1400" b="0" i="0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lnSpc>
                <a:spcPct val="120000"/>
              </a:lnSpc>
              <a:spcBef>
                <a:spcPct val="50000"/>
              </a:spcBef>
            </a:pPr>
            <a:r>
              <a:rPr lang="it-IT" altLang="it-IT" sz="1400" b="0" i="0" dirty="0">
                <a:latin typeface="Century Gothic" panose="020B0502020202020204" pitchFamily="34" charset="0"/>
                <a:cs typeface="Arial" panose="020B0604020202020204" pitchFamily="34" charset="0"/>
              </a:rPr>
              <a:t>La spedizione </a:t>
            </a:r>
            <a:r>
              <a:rPr lang="it-IT" altLang="it-IT" sz="1400" b="0" i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postale è </a:t>
            </a:r>
            <a:r>
              <a:rPr lang="it-IT" altLang="it-IT" sz="1400" b="0" i="0" dirty="0">
                <a:latin typeface="Century Gothic" panose="020B0502020202020204" pitchFamily="34" charset="0"/>
                <a:cs typeface="Arial" panose="020B0604020202020204" pitchFamily="34" charset="0"/>
              </a:rPr>
              <a:t>stata </a:t>
            </a:r>
            <a:r>
              <a:rPr lang="it-IT" altLang="it-IT" sz="1400" b="0" i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stratificata per area territoriale (31 aree) </a:t>
            </a:r>
            <a:r>
              <a:rPr lang="it-IT" altLang="it-IT" sz="1400" b="0" i="0" dirty="0">
                <a:latin typeface="Century Gothic" panose="020B0502020202020204" pitchFamily="34" charset="0"/>
                <a:cs typeface="Arial" panose="020B0604020202020204" pitchFamily="34" charset="0"/>
              </a:rPr>
              <a:t>e </a:t>
            </a:r>
            <a:r>
              <a:rPr lang="it-IT" altLang="it-IT" sz="1400" b="0" i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settore merceologico (15 settori), </a:t>
            </a:r>
            <a:r>
              <a:rPr lang="it-IT" altLang="it-IT" sz="1400" b="0" i="0" dirty="0">
                <a:latin typeface="Century Gothic" panose="020B0502020202020204" pitchFamily="34" charset="0"/>
                <a:cs typeface="Arial" panose="020B0604020202020204" pitchFamily="34" charset="0"/>
              </a:rPr>
              <a:t>prevedendo </a:t>
            </a:r>
            <a:r>
              <a:rPr lang="it-IT" altLang="it-IT" sz="1400" b="0" i="0" dirty="0" err="1" smtClean="0">
                <a:latin typeface="Century Gothic" panose="020B0502020202020204" pitchFamily="34" charset="0"/>
                <a:cs typeface="Arial" panose="020B0604020202020204" pitchFamily="34" charset="0"/>
              </a:rPr>
              <a:t>sovracampionamenti</a:t>
            </a:r>
            <a:r>
              <a:rPr lang="it-IT" altLang="it-IT" sz="1400" b="0" i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 per le aree e i settori più esigui.</a:t>
            </a:r>
          </a:p>
          <a:p>
            <a:pPr algn="just" eaLnBrk="1" hangingPunct="1">
              <a:lnSpc>
                <a:spcPct val="120000"/>
              </a:lnSpc>
              <a:spcBef>
                <a:spcPct val="50000"/>
              </a:spcBef>
            </a:pPr>
            <a:r>
              <a:rPr lang="it-IT" altLang="it-IT" sz="1400" b="0" i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In </a:t>
            </a:r>
            <a:r>
              <a:rPr lang="it-IT" altLang="it-IT" sz="1400" b="0" i="0" dirty="0">
                <a:latin typeface="Century Gothic" panose="020B0502020202020204" pitchFamily="34" charset="0"/>
                <a:cs typeface="Arial" panose="020B0604020202020204" pitchFamily="34" charset="0"/>
              </a:rPr>
              <a:t>fase di elaborazione </a:t>
            </a:r>
            <a:r>
              <a:rPr lang="it-IT" altLang="it-IT" sz="1400" b="0" i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entrambi i </a:t>
            </a:r>
            <a:r>
              <a:rPr lang="it-IT" altLang="it-IT" sz="1400" i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campioni </a:t>
            </a:r>
            <a:r>
              <a:rPr lang="it-IT" altLang="it-IT" sz="1400" b="0" i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(postale e web) </a:t>
            </a:r>
            <a:r>
              <a:rPr lang="it-IT" altLang="it-IT" sz="1400" i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sono stati controllati e riequilibrati sulla base della distribuzione dell’universo di riferimento</a:t>
            </a:r>
            <a:r>
              <a:rPr lang="it-IT" altLang="it-IT" sz="1400" b="0" i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, assegnando </a:t>
            </a:r>
            <a:r>
              <a:rPr lang="it-IT" altLang="it-IT" sz="1400" b="0" i="0" dirty="0">
                <a:latin typeface="Century Gothic" panose="020B0502020202020204" pitchFamily="34" charset="0"/>
                <a:cs typeface="Arial" panose="020B0604020202020204" pitchFamily="34" charset="0"/>
              </a:rPr>
              <a:t>ad </a:t>
            </a:r>
            <a:r>
              <a:rPr lang="it-IT" altLang="it-IT" sz="1400" b="0" i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ogni area territoriale e ad ogni settore il peso </a:t>
            </a:r>
            <a:r>
              <a:rPr lang="it-IT" altLang="it-IT" sz="1400" b="0" i="0" dirty="0">
                <a:latin typeface="Century Gothic" panose="020B0502020202020204" pitchFamily="34" charset="0"/>
                <a:cs typeface="Arial" panose="020B0604020202020204" pitchFamily="34" charset="0"/>
              </a:rPr>
              <a:t>che realmente ha </a:t>
            </a:r>
            <a:r>
              <a:rPr lang="it-IT" altLang="it-IT" sz="1400" b="0" i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nell’universo di riferimento.</a:t>
            </a:r>
          </a:p>
        </p:txBody>
      </p:sp>
    </p:spTree>
    <p:extLst>
      <p:ext uri="{BB962C8B-B14F-4D97-AF65-F5344CB8AC3E}">
        <p14:creationId xmlns:p14="http://schemas.microsoft.com/office/powerpoint/2010/main" val="659610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23850" y="188640"/>
            <a:ext cx="6335713" cy="6477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r>
              <a:rPr lang="it-IT" sz="2200" dirty="0">
                <a:solidFill>
                  <a:schemeClr val="tx2"/>
                </a:solidFill>
                <a:latin typeface="Century Gothic" panose="020B0502020202020204" pitchFamily="34" charset="0"/>
              </a:rPr>
              <a:t>Le percezioni sulla criminalità</a:t>
            </a:r>
          </a:p>
        </p:txBody>
      </p:sp>
      <p:sp>
        <p:nvSpPr>
          <p:cNvPr id="3" name="Text Box 2"/>
          <p:cNvSpPr txBox="1">
            <a:spLocks noChangeArrowheads="1"/>
          </p:cNvSpPr>
          <p:nvPr/>
        </p:nvSpPr>
        <p:spPr bwMode="auto">
          <a:xfrm>
            <a:off x="179512" y="837010"/>
            <a:ext cx="8424863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175" indent="-3175" eaLnBrk="0" hangingPunct="0">
              <a:defRPr b="1" i="1">
                <a:solidFill>
                  <a:schemeClr val="tx1"/>
                </a:solidFill>
                <a:latin typeface="Arial" charset="0"/>
              </a:defRPr>
            </a:lvl1pPr>
            <a:lvl2pPr marL="877888" indent="-342900" eaLnBrk="0" hangingPunct="0">
              <a:defRPr b="1" i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 i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 i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 i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 algn="just" eaLnBrk="1" hangingPunct="1">
              <a:spcBef>
                <a:spcPct val="50000"/>
              </a:spcBef>
              <a:buClr>
                <a:srgbClr val="E95E0F"/>
              </a:buClr>
              <a:buFont typeface="Wingdings" panose="05000000000000000000" pitchFamily="2" charset="2"/>
              <a:buChar char="q"/>
            </a:pPr>
            <a:r>
              <a:rPr lang="it-IT" altLang="it-IT" sz="140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Un’impresa su due registra un peggioramento generale dei propri livelli di sicurezza</a:t>
            </a: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rispetto all’inizio della crisi (2008</a:t>
            </a: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)</a:t>
            </a: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; il dato è più accentuato nelle grandi aree urbane del centro sud e in alcuni settori specifici (tabaccai, venditori su aree pubbliche e benzinai)</a:t>
            </a:r>
          </a:p>
          <a:p>
            <a:pPr marL="285750" indent="-285750" algn="just" eaLnBrk="1" hangingPunct="1">
              <a:spcBef>
                <a:spcPct val="50000"/>
              </a:spcBef>
              <a:buClr>
                <a:srgbClr val="E95E0F"/>
              </a:buClr>
              <a:buFont typeface="Wingdings" panose="05000000000000000000" pitchFamily="2" charset="2"/>
              <a:buChar char="q"/>
            </a:pP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n crescita i </a:t>
            </a:r>
            <a:r>
              <a:rPr lang="it-IT" altLang="it-IT" sz="140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furti</a:t>
            </a: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(per il 68% delle imprese) e i crimini ad alta «visibilità» quali </a:t>
            </a:r>
            <a:r>
              <a:rPr lang="it-IT" altLang="it-IT" sz="140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’abusivismo, la contraffazione e le rapine </a:t>
            </a: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in aumento per circa il 50/55% degli imprenditori)</a:t>
            </a:r>
          </a:p>
          <a:p>
            <a:pPr marL="285750" indent="-285750" algn="just" eaLnBrk="1" hangingPunct="1">
              <a:spcBef>
                <a:spcPct val="50000"/>
              </a:spcBef>
              <a:buClr>
                <a:srgbClr val="E95E0F"/>
              </a:buClr>
              <a:buFont typeface="Wingdings" panose="05000000000000000000" pitchFamily="2" charset="2"/>
              <a:buChar char="q"/>
            </a:pP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iù contenuta ma molto significativa (tra il 20 e il 30%) è anche la crescita dei comportamenti criminali tipicamente collegabili alla criminalità organizzata come </a:t>
            </a:r>
            <a:r>
              <a:rPr lang="it-IT" altLang="it-IT" sz="140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usura, tangenti negli appalti ed estorsioni</a:t>
            </a:r>
            <a:endParaRPr lang="it-IT" altLang="it-IT" sz="1400" b="0" i="0" dirty="0" smtClean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olo 1"/>
          <p:cNvSpPr txBox="1">
            <a:spLocks/>
          </p:cNvSpPr>
          <p:nvPr/>
        </p:nvSpPr>
        <p:spPr bwMode="gray">
          <a:xfrm>
            <a:off x="323850" y="2493268"/>
            <a:ext cx="6335713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it-IT" sz="2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L’esperienza concreta di criminalità </a:t>
            </a:r>
            <a:endParaRPr lang="it-IT" sz="2200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316856" y="3068960"/>
            <a:ext cx="8432325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175" indent="-3175" eaLnBrk="0" hangingPunct="0">
              <a:defRPr b="1" i="1">
                <a:solidFill>
                  <a:schemeClr val="tx1"/>
                </a:solidFill>
                <a:latin typeface="Arial" charset="0"/>
              </a:defRPr>
            </a:lvl1pPr>
            <a:lvl2pPr marL="877888" indent="-342900" eaLnBrk="0" hangingPunct="0">
              <a:defRPr b="1" i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 i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 i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 i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 algn="just" eaLnBrk="1" hangingPunct="1">
              <a:spcBef>
                <a:spcPct val="50000"/>
              </a:spcBef>
              <a:buClr>
                <a:srgbClr val="E95E0F"/>
              </a:buClr>
              <a:buFont typeface="Wingdings" panose="05000000000000000000" pitchFamily="2" charset="2"/>
              <a:buChar char="q"/>
            </a:pPr>
            <a:r>
              <a:rPr lang="it-IT" altLang="it-IT" sz="140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8 imprenditori su 100 hanno ricevuto minacce</a:t>
            </a: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it-IT" altLang="it-IT" sz="140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 intimidazioni </a:t>
            </a: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n finalità estorsiva </a:t>
            </a:r>
          </a:p>
          <a:p>
            <a:pPr marL="285750" indent="-285750" algn="just" eaLnBrk="1" hangingPunct="1">
              <a:spcBef>
                <a:spcPct val="50000"/>
              </a:spcBef>
              <a:buClr>
                <a:srgbClr val="E95E0F"/>
              </a:buClr>
              <a:buFont typeface="Wingdings" panose="05000000000000000000" pitchFamily="2" charset="2"/>
              <a:buChar char="q"/>
            </a:pPr>
            <a:r>
              <a:rPr lang="it-IT" altLang="it-IT" sz="140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1 imprenditori su 100 </a:t>
            </a: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ichiarano di conoscere altre imprese che sono state oggetto di minacce o intimidazioni</a:t>
            </a:r>
          </a:p>
          <a:p>
            <a:pPr marL="285750" indent="-285750" algn="just" eaLnBrk="1" hangingPunct="1">
              <a:spcBef>
                <a:spcPct val="50000"/>
              </a:spcBef>
              <a:buClr>
                <a:srgbClr val="E95E0F"/>
              </a:buClr>
              <a:buFont typeface="Wingdings" panose="05000000000000000000" pitchFamily="2" charset="2"/>
              <a:buChar char="q"/>
            </a:pP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ia l’esperienza diretta, sia quella indiretta di criminalità </a:t>
            </a:r>
            <a:r>
              <a:rPr lang="it-IT" altLang="it-IT" sz="140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i accentuano nel Sud </a:t>
            </a: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e</a:t>
            </a:r>
            <a:r>
              <a:rPr lang="it-IT" altLang="it-IT" sz="140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n particolare nei </a:t>
            </a:r>
            <a:r>
              <a:rPr lang="it-IT" altLang="it-IT" sz="140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grandi centri</a:t>
            </a: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6" name="Titolo 1"/>
          <p:cNvSpPr txBox="1">
            <a:spLocks/>
          </p:cNvSpPr>
          <p:nvPr/>
        </p:nvSpPr>
        <p:spPr bwMode="gray">
          <a:xfrm>
            <a:off x="324318" y="4077444"/>
            <a:ext cx="6390691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it-IT" sz="2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Da chi provengono le minacce</a:t>
            </a:r>
            <a:endParaRPr lang="it-IT" sz="2200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Text Box 2"/>
          <p:cNvSpPr txBox="1">
            <a:spLocks noChangeArrowheads="1"/>
          </p:cNvSpPr>
          <p:nvPr/>
        </p:nvSpPr>
        <p:spPr bwMode="auto">
          <a:xfrm>
            <a:off x="324318" y="4706560"/>
            <a:ext cx="8424863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175" indent="-3175" eaLnBrk="0" hangingPunct="0">
              <a:defRPr b="1" i="1">
                <a:solidFill>
                  <a:schemeClr val="tx1"/>
                </a:solidFill>
                <a:latin typeface="Arial" charset="0"/>
              </a:defRPr>
            </a:lvl1pPr>
            <a:lvl2pPr marL="877888" indent="-342900" eaLnBrk="0" hangingPunct="0">
              <a:defRPr b="1" i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 i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 i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 i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 algn="just" eaLnBrk="1" hangingPunct="1">
              <a:spcBef>
                <a:spcPct val="50000"/>
              </a:spcBef>
              <a:buClr>
                <a:srgbClr val="E95E0F"/>
              </a:buClr>
              <a:buFont typeface="Wingdings" panose="05000000000000000000" pitchFamily="2" charset="2"/>
              <a:buChar char="q"/>
            </a:pP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n calo la percentuale di</a:t>
            </a:r>
            <a:r>
              <a:rPr lang="it-IT" altLang="it-IT" sz="140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mprenditori </a:t>
            </a: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he ritiene </a:t>
            </a:r>
            <a:r>
              <a:rPr lang="it-IT" altLang="it-IT" sz="1400" b="0" i="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he le minacce subite </a:t>
            </a: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rovengano dalla delinquenza comune; la maggior parte delle imprese </a:t>
            </a:r>
            <a:r>
              <a:rPr lang="it-IT" altLang="it-IT" sz="140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a o teme </a:t>
            </a:r>
            <a:r>
              <a:rPr lang="it-IT" altLang="it-IT" sz="1400" i="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i avere a che fare con la criminalità </a:t>
            </a:r>
            <a:r>
              <a:rPr lang="it-IT" altLang="it-IT" sz="140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rganizzata </a:t>
            </a: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53%)</a:t>
            </a:r>
          </a:p>
        </p:txBody>
      </p:sp>
      <p:sp>
        <p:nvSpPr>
          <p:cNvPr id="8" name="Titolo 1"/>
          <p:cNvSpPr txBox="1">
            <a:spLocks/>
          </p:cNvSpPr>
          <p:nvPr/>
        </p:nvSpPr>
        <p:spPr bwMode="gray">
          <a:xfrm>
            <a:off x="323850" y="5085184"/>
            <a:ext cx="6335713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it-IT" sz="2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La natura delle minacce</a:t>
            </a:r>
            <a:endParaRPr lang="it-IT" sz="2200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Text Box 2"/>
          <p:cNvSpPr txBox="1">
            <a:spLocks noChangeArrowheads="1"/>
          </p:cNvSpPr>
          <p:nvPr/>
        </p:nvSpPr>
        <p:spPr bwMode="auto">
          <a:xfrm>
            <a:off x="316856" y="5733256"/>
            <a:ext cx="8424863" cy="1431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175" indent="-3175" eaLnBrk="0" hangingPunct="0">
              <a:defRPr b="1" i="1">
                <a:solidFill>
                  <a:schemeClr val="tx1"/>
                </a:solidFill>
                <a:latin typeface="Arial" charset="0"/>
              </a:defRPr>
            </a:lvl1pPr>
            <a:lvl2pPr marL="877888" indent="-342900" eaLnBrk="0" hangingPunct="0">
              <a:defRPr b="1" i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 i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 i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 i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 algn="just" eaLnBrk="1" hangingPunct="1">
              <a:spcBef>
                <a:spcPct val="50000"/>
              </a:spcBef>
              <a:buClr>
                <a:srgbClr val="E95E0F"/>
              </a:buClr>
              <a:buFont typeface="Wingdings" panose="05000000000000000000" pitchFamily="2" charset="2"/>
              <a:buChar char="q"/>
            </a:pP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Nel</a:t>
            </a:r>
            <a:r>
              <a:rPr lang="it-IT" altLang="it-IT" sz="140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59% </a:t>
            </a: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ei casi le minacce subite  </a:t>
            </a:r>
            <a:r>
              <a:rPr lang="it-IT" altLang="it-IT" sz="140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i «limitano» a pressioni psicologiche</a:t>
            </a: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; la percentuale è più accentuata quando la minaccia è portata dalla criminalità organizzata</a:t>
            </a:r>
          </a:p>
          <a:p>
            <a:pPr marL="285750" indent="-285750" algn="just" eaLnBrk="1" hangingPunct="1">
              <a:spcBef>
                <a:spcPct val="50000"/>
              </a:spcBef>
              <a:buClr>
                <a:srgbClr val="E95E0F"/>
              </a:buClr>
              <a:buFont typeface="Wingdings" panose="05000000000000000000" pitchFamily="2" charset="2"/>
              <a:buChar char="q"/>
            </a:pPr>
            <a:r>
              <a:rPr lang="it-IT" altLang="it-IT" sz="140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Rilevante </a:t>
            </a: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a quota di imprenditori minacciati che hanno subito </a:t>
            </a:r>
            <a:r>
              <a:rPr lang="it-IT" altLang="it-IT" sz="140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anneggiamenti alle cose </a:t>
            </a: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 addirittura </a:t>
            </a:r>
            <a:r>
              <a:rPr lang="it-IT" altLang="it-IT" sz="140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violenza alle persone </a:t>
            </a: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rispettivamente il 35% e il 7% dei casi)</a:t>
            </a:r>
            <a:endParaRPr lang="it-IT" altLang="it-IT" sz="1600" b="0" i="0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indent="0" algn="just" eaLnBrk="1" hangingPunct="1">
              <a:spcBef>
                <a:spcPct val="50000"/>
              </a:spcBef>
            </a:pPr>
            <a:endParaRPr lang="it-IT" altLang="it-IT" sz="1600" b="0" i="0" dirty="0" smtClean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egnaposto numero diapositiva 4"/>
          <p:cNvSpPr>
            <a:spLocks noGrp="1"/>
          </p:cNvSpPr>
          <p:nvPr>
            <p:ph type="sldNum" sz="quarter" idx="4"/>
          </p:nvPr>
        </p:nvSpPr>
        <p:spPr>
          <a:xfrm>
            <a:off x="6240305" y="6237312"/>
            <a:ext cx="2940207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0CFC42-A5FC-4A7F-BE59-040792774089}" type="slidenum">
              <a:rPr lang="it-IT" smtClean="0"/>
              <a:t>5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804600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 txBox="1">
            <a:spLocks/>
          </p:cNvSpPr>
          <p:nvPr/>
        </p:nvSpPr>
        <p:spPr bwMode="gray">
          <a:xfrm>
            <a:off x="323850" y="390208"/>
            <a:ext cx="8417869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it-IT" sz="2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Le risposte alla richieste estorsiva</a:t>
            </a:r>
            <a:endParaRPr lang="it-IT" sz="2200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Text Box 2"/>
          <p:cNvSpPr txBox="1">
            <a:spLocks noChangeArrowheads="1"/>
          </p:cNvSpPr>
          <p:nvPr/>
        </p:nvSpPr>
        <p:spPr bwMode="auto">
          <a:xfrm>
            <a:off x="316856" y="1130900"/>
            <a:ext cx="8424863" cy="192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175" indent="-3175" eaLnBrk="0" hangingPunct="0">
              <a:defRPr b="1" i="1">
                <a:solidFill>
                  <a:schemeClr val="tx1"/>
                </a:solidFill>
                <a:latin typeface="Arial" charset="0"/>
              </a:defRPr>
            </a:lvl1pPr>
            <a:lvl2pPr marL="877888" indent="-342900" eaLnBrk="0" hangingPunct="0">
              <a:defRPr b="1" i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 i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 i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 i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 algn="just" eaLnBrk="1" hangingPunct="1">
              <a:spcBef>
                <a:spcPct val="50000"/>
              </a:spcBef>
              <a:buClr>
                <a:srgbClr val="E95E0F"/>
              </a:buClr>
              <a:buFont typeface="Wingdings" panose="05000000000000000000" pitchFamily="2" charset="2"/>
              <a:buChar char="q"/>
            </a:pPr>
            <a:r>
              <a:rPr lang="it-IT" altLang="it-IT" sz="140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 imprenditori su 100 cedono alla richiesta estorsiva</a:t>
            </a: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; tale  comportamento è </a:t>
            </a:r>
            <a:r>
              <a:rPr lang="it-IT" altLang="it-IT" sz="140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n significativo </a:t>
            </a:r>
            <a:r>
              <a:rPr lang="it-IT" altLang="it-IT" sz="1400" i="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umento rispetto al 2007 </a:t>
            </a: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e si accentua nel Meridione, soprattutto nei grandi centri</a:t>
            </a:r>
          </a:p>
          <a:p>
            <a:pPr marL="285750" indent="-285750" algn="just" eaLnBrk="1" hangingPunct="1">
              <a:spcBef>
                <a:spcPct val="50000"/>
              </a:spcBef>
              <a:buClr>
                <a:srgbClr val="E95E0F"/>
              </a:buClr>
              <a:buFont typeface="Wingdings" panose="05000000000000000000" pitchFamily="2" charset="2"/>
              <a:buChar char="q"/>
            </a:pP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a richiesta estorsiva viene soddisfatta prevalentemente con </a:t>
            </a:r>
            <a:r>
              <a:rPr lang="it-IT" altLang="it-IT" sz="140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esborso di denaro </a:t>
            </a: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nel 44% dei casi) o con </a:t>
            </a:r>
            <a:r>
              <a:rPr lang="it-IT" altLang="it-IT" sz="140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nsegna di merce </a:t>
            </a: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nel 34% dei casi); </a:t>
            </a:r>
          </a:p>
          <a:p>
            <a:pPr marL="285750" indent="-285750" algn="just" eaLnBrk="1" hangingPunct="1">
              <a:spcBef>
                <a:spcPct val="50000"/>
              </a:spcBef>
              <a:buClr>
                <a:srgbClr val="E95E0F"/>
              </a:buClr>
              <a:buFont typeface="Wingdings" panose="05000000000000000000" pitchFamily="2" charset="2"/>
              <a:buChar char="q"/>
            </a:pP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rispetto al 2007 è in flessione la quota delle imprese che dichiarano di aver pagato/consegnato un valore superiore ai 10.000 euro</a:t>
            </a:r>
          </a:p>
          <a:p>
            <a:pPr marL="0" indent="0" algn="just" eaLnBrk="1" hangingPunct="1">
              <a:spcBef>
                <a:spcPct val="50000"/>
              </a:spcBef>
              <a:buClr>
                <a:srgbClr val="E95E0F"/>
              </a:buClr>
            </a:pPr>
            <a:endParaRPr lang="it-IT" altLang="it-IT" sz="1400" b="0" i="0" dirty="0" smtClean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olo 1"/>
          <p:cNvSpPr txBox="1">
            <a:spLocks/>
          </p:cNvSpPr>
          <p:nvPr/>
        </p:nvSpPr>
        <p:spPr bwMode="gray">
          <a:xfrm>
            <a:off x="395536" y="2518890"/>
            <a:ext cx="647973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it-IT" sz="2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Il taccheggio</a:t>
            </a:r>
            <a:endParaRPr lang="it-IT" sz="2200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Text Box 2"/>
          <p:cNvSpPr txBox="1">
            <a:spLocks noChangeArrowheads="1"/>
          </p:cNvSpPr>
          <p:nvPr/>
        </p:nvSpPr>
        <p:spPr bwMode="auto">
          <a:xfrm>
            <a:off x="395535" y="3206510"/>
            <a:ext cx="8424863" cy="8463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175" indent="-3175" eaLnBrk="0" hangingPunct="0">
              <a:defRPr b="1" i="1">
                <a:solidFill>
                  <a:schemeClr val="tx1"/>
                </a:solidFill>
                <a:latin typeface="Arial" charset="0"/>
              </a:defRPr>
            </a:lvl1pPr>
            <a:lvl2pPr marL="877888" indent="-342900" eaLnBrk="0" hangingPunct="0">
              <a:defRPr b="1" i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 i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 i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 i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 algn="just" eaLnBrk="1" hangingPunct="1">
              <a:spcBef>
                <a:spcPct val="50000"/>
              </a:spcBef>
              <a:buClr>
                <a:srgbClr val="E95E0F"/>
              </a:buClr>
              <a:buFont typeface="Wingdings" panose="05000000000000000000" pitchFamily="2" charset="2"/>
              <a:buChar char="q"/>
            </a:pPr>
            <a:r>
              <a:rPr lang="it-IT" altLang="it-IT" sz="140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ltre la metà delle imprese (55%) ha subito il taccheggio</a:t>
            </a: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  Un fenomeno che è in forte aumento rispetto a 5/6 anni fa</a:t>
            </a:r>
          </a:p>
          <a:p>
            <a:pPr marL="285750" indent="-285750" algn="just" eaLnBrk="1" hangingPunct="1">
              <a:spcBef>
                <a:spcPct val="50000"/>
              </a:spcBef>
              <a:buClr>
                <a:srgbClr val="E95E0F"/>
              </a:buClr>
              <a:buFont typeface="Wingdings" panose="05000000000000000000" pitchFamily="2" charset="2"/>
              <a:buChar char="q"/>
            </a:pPr>
            <a:r>
              <a:rPr lang="it-IT" altLang="it-IT" sz="140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abaccai e venditori su aree pubbliche </a:t>
            </a: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ono le categorie </a:t>
            </a:r>
            <a:r>
              <a:rPr lang="it-IT" altLang="it-IT" sz="140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più colpite</a:t>
            </a:r>
            <a:endParaRPr lang="it-IT" altLang="it-IT" sz="1400" b="0" i="0" dirty="0" smtClean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olo 1"/>
          <p:cNvSpPr txBox="1">
            <a:spLocks/>
          </p:cNvSpPr>
          <p:nvPr/>
        </p:nvSpPr>
        <p:spPr bwMode="gray">
          <a:xfrm>
            <a:off x="539550" y="3918600"/>
            <a:ext cx="6335713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it-IT" sz="2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Le azioni a protezione della propria impresa</a:t>
            </a:r>
            <a:endParaRPr lang="it-IT" sz="2200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Text Box 2"/>
          <p:cNvSpPr txBox="1">
            <a:spLocks noChangeArrowheads="1"/>
          </p:cNvSpPr>
          <p:nvPr/>
        </p:nvSpPr>
        <p:spPr bwMode="auto">
          <a:xfrm>
            <a:off x="420346" y="4606420"/>
            <a:ext cx="8424863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175" indent="-3175" eaLnBrk="0" hangingPunct="0">
              <a:defRPr b="1" i="1">
                <a:solidFill>
                  <a:schemeClr val="tx1"/>
                </a:solidFill>
                <a:latin typeface="Arial" charset="0"/>
              </a:defRPr>
            </a:lvl1pPr>
            <a:lvl2pPr marL="877888" indent="-342900" eaLnBrk="0" hangingPunct="0">
              <a:defRPr b="1" i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 i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 i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 i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 algn="just" eaLnBrk="1" hangingPunct="1">
              <a:spcBef>
                <a:spcPct val="50000"/>
              </a:spcBef>
              <a:buClr>
                <a:srgbClr val="E95E0F"/>
              </a:buClr>
              <a:buFont typeface="Wingdings" panose="05000000000000000000" pitchFamily="2" charset="2"/>
              <a:buChar char="q"/>
            </a:pPr>
            <a:r>
              <a:rPr lang="it-IT" altLang="it-IT" sz="140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a metà delle imprese ha adottato misure di sicurezza per proteggersi dalla criminalità, </a:t>
            </a: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rincipalmente  con l’utilizzo di telecamere/impianti allarme (34%)</a:t>
            </a:r>
          </a:p>
        </p:txBody>
      </p:sp>
      <p:sp>
        <p:nvSpPr>
          <p:cNvPr id="12" name="Titolo 1"/>
          <p:cNvSpPr txBox="1">
            <a:spLocks/>
          </p:cNvSpPr>
          <p:nvPr/>
        </p:nvSpPr>
        <p:spPr bwMode="gray">
          <a:xfrm>
            <a:off x="477404" y="4885469"/>
            <a:ext cx="6335713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it-IT" sz="2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La sicurezza della propria attività</a:t>
            </a:r>
            <a:endParaRPr lang="it-IT" sz="2200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13" name="Text Box 2"/>
          <p:cNvSpPr txBox="1">
            <a:spLocks noChangeArrowheads="1"/>
          </p:cNvSpPr>
          <p:nvPr/>
        </p:nvSpPr>
        <p:spPr bwMode="auto">
          <a:xfrm>
            <a:off x="424039" y="5535523"/>
            <a:ext cx="8424863" cy="1061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175" indent="-3175" eaLnBrk="0" hangingPunct="0">
              <a:defRPr b="1" i="1">
                <a:solidFill>
                  <a:schemeClr val="tx1"/>
                </a:solidFill>
                <a:latin typeface="Arial" charset="0"/>
              </a:defRPr>
            </a:lvl1pPr>
            <a:lvl2pPr marL="877888" indent="-342900" eaLnBrk="0" hangingPunct="0">
              <a:defRPr b="1" i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 i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 i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 i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 i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 algn="just" eaLnBrk="1" hangingPunct="1">
              <a:spcBef>
                <a:spcPct val="50000"/>
              </a:spcBef>
              <a:buClr>
                <a:srgbClr val="E95E0F"/>
              </a:buClr>
              <a:buFont typeface="Wingdings" panose="05000000000000000000" pitchFamily="2" charset="2"/>
              <a:buChar char="q"/>
            </a:pP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resce la richiesta di</a:t>
            </a:r>
            <a:r>
              <a:rPr lang="it-IT" altLang="it-IT" sz="140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maggior protezione sul territorio da parte delle forze dell’ordine (per il 64%) che insieme alla certezza della pena (per il 58%) </a:t>
            </a:r>
            <a:r>
              <a:rPr lang="it-IT" altLang="it-IT" sz="1400" b="0" i="0" dirty="0" smtClean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ono le iniziative ritenute più efficaci per la sicurezza delle imprese  </a:t>
            </a:r>
          </a:p>
          <a:p>
            <a:pPr marL="0" indent="0" algn="just" eaLnBrk="1" hangingPunct="1">
              <a:spcBef>
                <a:spcPct val="50000"/>
              </a:spcBef>
              <a:buClr>
                <a:srgbClr val="E95E0F"/>
              </a:buClr>
            </a:pPr>
            <a:endParaRPr lang="it-IT" altLang="it-IT" sz="1400" b="0" i="0" dirty="0" smtClean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egnaposto numero diapositiva 4"/>
          <p:cNvSpPr>
            <a:spLocks noGrp="1"/>
          </p:cNvSpPr>
          <p:nvPr>
            <p:ph type="sldNum" sz="quarter" idx="4"/>
          </p:nvPr>
        </p:nvSpPr>
        <p:spPr>
          <a:xfrm>
            <a:off x="6240305" y="6237312"/>
            <a:ext cx="2940207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0CFC42-A5FC-4A7F-BE59-040792774089}" type="slidenum">
              <a:rPr lang="it-IT" smtClean="0"/>
              <a:t>6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374879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323850" y="1988691"/>
            <a:ext cx="8496300" cy="1584325"/>
          </a:xfrm>
        </p:spPr>
        <p:txBody>
          <a:bodyPr/>
          <a:lstStyle/>
          <a:p>
            <a:r>
              <a:rPr lang="it-IT" dirty="0" smtClean="0">
                <a:latin typeface="Century Gothic" panose="020B0502020202020204" pitchFamily="34" charset="0"/>
              </a:rPr>
              <a:t>Le percezioni sulla criminalità</a:t>
            </a:r>
            <a:endParaRPr lang="it-IT" dirty="0">
              <a:latin typeface="Century Gothic" panose="020B0502020202020204" pitchFamily="34" charset="0"/>
            </a:endParaRPr>
          </a:p>
        </p:txBody>
      </p:sp>
      <p:grpSp>
        <p:nvGrpSpPr>
          <p:cNvPr id="4" name="Gruppo 3"/>
          <p:cNvGrpSpPr/>
          <p:nvPr/>
        </p:nvGrpSpPr>
        <p:grpSpPr>
          <a:xfrm>
            <a:off x="-18000" y="5381751"/>
            <a:ext cx="9180000" cy="1476249"/>
            <a:chOff x="-15129" y="1545126"/>
            <a:chExt cx="14893201" cy="1476249"/>
          </a:xfrm>
        </p:grpSpPr>
        <p:pic>
          <p:nvPicPr>
            <p:cNvPr id="5" name="Immagine 4"/>
            <p:cNvPicPr preferRelativeResize="0">
              <a:picLocks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15129" y="1552575"/>
              <a:ext cx="2484000" cy="1468800"/>
            </a:xfrm>
            <a:prstGeom prst="rect">
              <a:avLst/>
            </a:prstGeom>
          </p:spPr>
        </p:pic>
        <p:pic>
          <p:nvPicPr>
            <p:cNvPr id="6" name="Immagine 5"/>
            <p:cNvPicPr preferRelativeResize="0">
              <a:picLocks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11321" y="1545127"/>
              <a:ext cx="2482751" cy="1468800"/>
            </a:xfrm>
            <a:prstGeom prst="rect">
              <a:avLst/>
            </a:prstGeom>
          </p:spPr>
        </p:pic>
        <p:pic>
          <p:nvPicPr>
            <p:cNvPr id="7" name="Immagine 6"/>
            <p:cNvPicPr preferRelativeResize="0">
              <a:picLocks/>
            </p:cNvPicPr>
            <p:nvPr/>
          </p:nvPicPr>
          <p:blipFill rotWithShape="1">
            <a:blip r:embed="rId4"/>
            <a:srcRect r="5847" b="12367"/>
            <a:stretch/>
          </p:blipFill>
          <p:spPr>
            <a:xfrm>
              <a:off x="4942072" y="1545126"/>
              <a:ext cx="2484000" cy="1468800"/>
            </a:xfrm>
            <a:prstGeom prst="rect">
              <a:avLst/>
            </a:prstGeom>
          </p:spPr>
        </p:pic>
        <p:pic>
          <p:nvPicPr>
            <p:cNvPr id="8" name="Immagine 7"/>
            <p:cNvPicPr preferRelativeResize="0">
              <a:picLocks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2394072" y="1545127"/>
              <a:ext cx="2484000" cy="1468800"/>
            </a:xfrm>
            <a:prstGeom prst="rect">
              <a:avLst/>
            </a:prstGeom>
          </p:spPr>
        </p:pic>
        <p:pic>
          <p:nvPicPr>
            <p:cNvPr id="9" name="Immagine 8"/>
            <p:cNvPicPr preferRelativeResize="0">
              <a:picLocks/>
            </p:cNvPicPr>
            <p:nvPr/>
          </p:nvPicPr>
          <p:blipFill rotWithShape="1">
            <a:blip r:embed="rId6"/>
            <a:srcRect t="7046" b="4812"/>
            <a:stretch/>
          </p:blipFill>
          <p:spPr>
            <a:xfrm>
              <a:off x="7426072" y="1545127"/>
              <a:ext cx="2484000" cy="1469308"/>
            </a:xfrm>
            <a:prstGeom prst="rect">
              <a:avLst/>
            </a:prstGeom>
          </p:spPr>
        </p:pic>
        <p:pic>
          <p:nvPicPr>
            <p:cNvPr id="10" name="Immagine 9"/>
            <p:cNvPicPr preferRelativeResize="0">
              <a:picLocks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53641" y="1545127"/>
              <a:ext cx="2484000" cy="1468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70383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 txBox="1">
            <a:spLocks/>
          </p:cNvSpPr>
          <p:nvPr/>
        </p:nvSpPr>
        <p:spPr>
          <a:xfrm>
            <a:off x="323850" y="260648"/>
            <a:ext cx="7340826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 smtClean="0"/>
              <a:t>Le percezioni della criminalità vs azienda: andamento dall’inizio della crisi (2008)</a:t>
            </a:r>
            <a:endParaRPr lang="it-IT" dirty="0"/>
          </a:p>
        </p:txBody>
      </p:sp>
      <p:sp>
        <p:nvSpPr>
          <p:cNvPr id="19" name="Text Box 8"/>
          <p:cNvSpPr txBox="1">
            <a:spLocks noChangeArrowheads="1"/>
          </p:cNvSpPr>
          <p:nvPr/>
        </p:nvSpPr>
        <p:spPr bwMode="auto">
          <a:xfrm>
            <a:off x="3533827" y="2578881"/>
            <a:ext cx="358775" cy="212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ctr">
            <a:spAutoFit/>
          </a:bodyPr>
          <a:lstStyle/>
          <a:p>
            <a:pPr algn="ctr">
              <a:defRPr/>
            </a:pPr>
            <a:r>
              <a:rPr lang="it-IT" sz="1400" i="1" dirty="0">
                <a:effectLst>
                  <a:outerShdw blurRad="38100" dist="38100" dir="2700000" algn="tl">
                    <a:srgbClr val="FFFFFF"/>
                  </a:outerShdw>
                </a:effectLst>
                <a:cs typeface="Arial" charset="0"/>
              </a:rPr>
              <a:t>%</a:t>
            </a:r>
          </a:p>
        </p:txBody>
      </p:sp>
      <p:sp>
        <p:nvSpPr>
          <p:cNvPr id="26" name="Text Box 9"/>
          <p:cNvSpPr txBox="1">
            <a:spLocks noChangeArrowheads="1"/>
          </p:cNvSpPr>
          <p:nvPr/>
        </p:nvSpPr>
        <p:spPr bwMode="auto">
          <a:xfrm>
            <a:off x="1567280" y="2004809"/>
            <a:ext cx="5062892" cy="58477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txBody>
          <a:bodyPr wrap="square">
            <a:spAutoFit/>
          </a:bodyPr>
          <a:lstStyle>
            <a:defPPr>
              <a:defRPr lang="it-IT"/>
            </a:defPPr>
            <a:lvl1pPr algn="ctr">
              <a:defRPr sz="1600">
                <a:solidFill>
                  <a:srgbClr val="000000"/>
                </a:solidFill>
                <a:latin typeface="Century Gothic" pitchFamily="34" charset="0"/>
              </a:defRPr>
            </a:lvl1pPr>
          </a:lstStyle>
          <a:p>
            <a:r>
              <a:rPr lang="it-IT" i="1" dirty="0" smtClean="0"/>
              <a:t>Negli anni della crisi economica (2008-2013) i </a:t>
            </a:r>
            <a:r>
              <a:rPr lang="it-IT" b="1" i="1" dirty="0" smtClean="0"/>
              <a:t>livelli di sicurezza  </a:t>
            </a:r>
            <a:r>
              <a:rPr lang="it-IT" i="1" dirty="0" smtClean="0"/>
              <a:t>per la sua attività sono… </a:t>
            </a:r>
            <a:endParaRPr lang="it-IT" i="1" dirty="0"/>
          </a:p>
        </p:txBody>
      </p:sp>
      <p:sp>
        <p:nvSpPr>
          <p:cNvPr id="2" name="Rettangolo 1"/>
          <p:cNvSpPr/>
          <p:nvPr/>
        </p:nvSpPr>
        <p:spPr>
          <a:xfrm>
            <a:off x="323850" y="1138654"/>
            <a:ext cx="850007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Pensando </a:t>
            </a:r>
            <a:r>
              <a:rPr lang="it-IT" sz="1000" i="1" dirty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alla criminalità, in particolare a furti, rapine, estorsioni e usura, Lei direbbe che negli anni della crisi economica (2008-2013) i livelli di sicurezza per la sua attività </a:t>
            </a:r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sono; </a:t>
            </a:r>
          </a:p>
          <a:p>
            <a:r>
              <a:rPr lang="it-IT" sz="1000" i="1" dirty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(</a:t>
            </a:r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base = totale campione, n= 5880)</a:t>
            </a:r>
            <a:endParaRPr lang="it-IT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8" name="Text Box 9"/>
          <p:cNvSpPr txBox="1">
            <a:spLocks noChangeArrowheads="1"/>
          </p:cNvSpPr>
          <p:nvPr/>
        </p:nvSpPr>
        <p:spPr bwMode="auto">
          <a:xfrm>
            <a:off x="5436096" y="4086651"/>
            <a:ext cx="3672408" cy="164660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wrap="square">
            <a:spAutoFit/>
          </a:bodyPr>
          <a:lstStyle>
            <a:defPPr>
              <a:defRPr lang="it-IT"/>
            </a:defPPr>
            <a:lvl1pPr algn="ctr">
              <a:defRPr sz="1600">
                <a:solidFill>
                  <a:srgbClr val="000000"/>
                </a:solidFill>
                <a:latin typeface="Century Gothic" pitchFamily="34" charset="0"/>
              </a:defRPr>
            </a:lvl1pPr>
          </a:lstStyle>
          <a:p>
            <a:r>
              <a:rPr lang="it-IT" i="1" dirty="0" smtClean="0"/>
              <a:t>Circa la metà degli intervistati indica un peggioramento delle percezioni di sicurezza a partire dall’inizio della crisi (2008). </a:t>
            </a:r>
          </a:p>
          <a:p>
            <a:pPr>
              <a:spcBef>
                <a:spcPts val="600"/>
              </a:spcBef>
            </a:pPr>
            <a:r>
              <a:rPr lang="it-IT" i="1" dirty="0">
                <a:solidFill>
                  <a:srgbClr val="E95E0F"/>
                </a:solidFill>
              </a:rPr>
              <a:t>L</a:t>
            </a:r>
            <a:r>
              <a:rPr lang="it-IT" i="1" dirty="0" smtClean="0">
                <a:solidFill>
                  <a:srgbClr val="E95E0F"/>
                </a:solidFill>
              </a:rPr>
              <a:t>a percezione di peggioramento è anche in crescita rispetto al 2007</a:t>
            </a:r>
          </a:p>
        </p:txBody>
      </p:sp>
      <p:graphicFrame>
        <p:nvGraphicFramePr>
          <p:cNvPr id="10" name="Grafico 9"/>
          <p:cNvGraphicFramePr/>
          <p:nvPr>
            <p:extLst>
              <p:ext uri="{D42A27DB-BD31-4B8C-83A1-F6EECF244321}">
                <p14:modId xmlns:p14="http://schemas.microsoft.com/office/powerpoint/2010/main" val="747258090"/>
              </p:ext>
            </p:extLst>
          </p:nvPr>
        </p:nvGraphicFramePr>
        <p:xfrm>
          <a:off x="2021660" y="2962227"/>
          <a:ext cx="5623739" cy="39231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2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32181">
            <a:off x="4679037" y="2924338"/>
            <a:ext cx="882093" cy="795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ttangolo 8"/>
          <p:cNvSpPr/>
          <p:nvPr/>
        </p:nvSpPr>
        <p:spPr bwMode="gray">
          <a:xfrm>
            <a:off x="258114" y="2564904"/>
            <a:ext cx="1584176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Ind. 2007</a:t>
            </a:r>
          </a:p>
        </p:txBody>
      </p:sp>
      <p:sp>
        <p:nvSpPr>
          <p:cNvPr id="11" name="Rettangolo 10"/>
          <p:cNvSpPr/>
          <p:nvPr/>
        </p:nvSpPr>
        <p:spPr bwMode="gray">
          <a:xfrm>
            <a:off x="762170" y="3717032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57</a:t>
            </a:r>
          </a:p>
        </p:txBody>
      </p:sp>
      <p:sp>
        <p:nvSpPr>
          <p:cNvPr id="13" name="Rettangolo 12"/>
          <p:cNvSpPr/>
          <p:nvPr/>
        </p:nvSpPr>
        <p:spPr bwMode="gray">
          <a:xfrm>
            <a:off x="762170" y="4437112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4</a:t>
            </a:r>
          </a:p>
        </p:txBody>
      </p:sp>
      <p:sp>
        <p:nvSpPr>
          <p:cNvPr id="14" name="Rettangolo 13"/>
          <p:cNvSpPr/>
          <p:nvPr/>
        </p:nvSpPr>
        <p:spPr bwMode="gray">
          <a:xfrm>
            <a:off x="755576" y="3068960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37</a:t>
            </a:r>
          </a:p>
        </p:txBody>
      </p:sp>
      <p:sp>
        <p:nvSpPr>
          <p:cNvPr id="15" name="Rettangolo 14"/>
          <p:cNvSpPr/>
          <p:nvPr/>
        </p:nvSpPr>
        <p:spPr bwMode="gray">
          <a:xfrm>
            <a:off x="755576" y="5157192"/>
            <a:ext cx="593119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i="1" dirty="0" smtClean="0">
                <a:solidFill>
                  <a:srgbClr val="E95E0F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7119020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 txBox="1">
            <a:spLocks/>
          </p:cNvSpPr>
          <p:nvPr/>
        </p:nvSpPr>
        <p:spPr>
          <a:xfrm>
            <a:off x="323850" y="188640"/>
            <a:ext cx="7340826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latin typeface="Arial" charset="0"/>
              </a:defRPr>
            </a:lvl9pPr>
          </a:lstStyle>
          <a:p>
            <a:r>
              <a:rPr lang="it-IT" dirty="0" smtClean="0"/>
              <a:t>Le percezioni della criminalità vs azienda: andamento dall’inizio della crisi (2008): </a:t>
            </a:r>
            <a:r>
              <a:rPr lang="it-IT" dirty="0" smtClean="0">
                <a:sym typeface="Wingdings" panose="05000000000000000000" pitchFamily="2" charset="2"/>
              </a:rPr>
              <a:t> </a:t>
            </a:r>
            <a:r>
              <a:rPr lang="it-IT" dirty="0" smtClean="0"/>
              <a:t>analisi per aree e settori</a:t>
            </a:r>
            <a:endParaRPr lang="it-IT" dirty="0"/>
          </a:p>
        </p:txBody>
      </p:sp>
      <p:graphicFrame>
        <p:nvGraphicFramePr>
          <p:cNvPr id="12" name="Tabella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0550783"/>
              </p:ext>
            </p:extLst>
          </p:nvPr>
        </p:nvGraphicFramePr>
        <p:xfrm>
          <a:off x="521270" y="2324879"/>
          <a:ext cx="3330650" cy="20402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1109"/>
                <a:gridCol w="759541"/>
              </a:tblGrid>
              <a:tr h="40804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entr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0804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rd Ovest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0804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 Italia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40804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rd Est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408045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d</a:t>
                      </a:r>
                      <a:r>
                        <a:rPr lang="it-IT" sz="14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e Isole</a:t>
                      </a:r>
                      <a:endParaRPr lang="it-IT" sz="14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3" name="Tabella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482367"/>
              </p:ext>
            </p:extLst>
          </p:nvPr>
        </p:nvGraphicFramePr>
        <p:xfrm>
          <a:off x="5388154" y="2393511"/>
          <a:ext cx="3330650" cy="384380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1109"/>
                <a:gridCol w="759541"/>
              </a:tblGrid>
              <a:tr h="427089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bacca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3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27089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enditori su aree pubbliche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9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27089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enzina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27089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rasport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27089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  Italia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sng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427089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ubblici eserciz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427089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tr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427089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imentari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427089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berghi e turismo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4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14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92124">
            <a:off x="7911185" y="2156604"/>
            <a:ext cx="934114" cy="782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5" name="Tabella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9477940"/>
              </p:ext>
            </p:extLst>
          </p:nvPr>
        </p:nvGraphicFramePr>
        <p:xfrm>
          <a:off x="521270" y="5157192"/>
          <a:ext cx="3330650" cy="12241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1109"/>
                <a:gridCol w="759541"/>
              </a:tblGrid>
              <a:tr h="40804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andi centri centro sud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0804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andi centri centro nord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8</a:t>
                      </a:r>
                      <a:endParaRPr lang="it-IT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0804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 Italia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u="sng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</a:t>
                      </a:r>
                      <a:endParaRPr lang="it-IT" sz="1400" u="sng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6" name="Rettangolo 15"/>
          <p:cNvSpPr/>
          <p:nvPr/>
        </p:nvSpPr>
        <p:spPr bwMode="gray">
          <a:xfrm>
            <a:off x="2705385" y="1052736"/>
            <a:ext cx="3522799" cy="504056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600" dirty="0" smtClean="0">
                <a:solidFill>
                  <a:schemeClr val="tx1"/>
                </a:solidFill>
              </a:rPr>
              <a:t>% livelli di sicurezza peggiorati:</a:t>
            </a:r>
          </a:p>
        </p:txBody>
      </p:sp>
      <p:sp>
        <p:nvSpPr>
          <p:cNvPr id="17" name="Rettangolo 16"/>
          <p:cNvSpPr/>
          <p:nvPr/>
        </p:nvSpPr>
        <p:spPr bwMode="gray">
          <a:xfrm>
            <a:off x="216024" y="1772816"/>
            <a:ext cx="4067944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600" i="1" dirty="0" smtClean="0">
                <a:solidFill>
                  <a:srgbClr val="E95E0F"/>
                </a:solidFill>
              </a:rPr>
              <a:t>area geografica</a:t>
            </a:r>
          </a:p>
        </p:txBody>
      </p:sp>
      <p:sp>
        <p:nvSpPr>
          <p:cNvPr id="18" name="Rettangolo 17"/>
          <p:cNvSpPr/>
          <p:nvPr/>
        </p:nvSpPr>
        <p:spPr bwMode="gray">
          <a:xfrm>
            <a:off x="5184576" y="1778256"/>
            <a:ext cx="4067944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600" i="1" dirty="0" smtClean="0">
                <a:solidFill>
                  <a:srgbClr val="E95E0F"/>
                </a:solidFill>
              </a:rPr>
              <a:t>settore</a:t>
            </a:r>
          </a:p>
        </p:txBody>
      </p:sp>
      <p:sp>
        <p:nvSpPr>
          <p:cNvPr id="19" name="Rettangolo 18"/>
          <p:cNvSpPr/>
          <p:nvPr/>
        </p:nvSpPr>
        <p:spPr bwMode="gray">
          <a:xfrm>
            <a:off x="216024" y="4545124"/>
            <a:ext cx="4067944" cy="5040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600" i="1" dirty="0" smtClean="0">
                <a:solidFill>
                  <a:srgbClr val="E95E0F"/>
                </a:solidFill>
              </a:rPr>
              <a:t>area</a:t>
            </a:r>
            <a:r>
              <a:rPr lang="it-IT" sz="1600" dirty="0" smtClean="0">
                <a:solidFill>
                  <a:srgbClr val="E95E0F"/>
                </a:solidFill>
              </a:rPr>
              <a:t> </a:t>
            </a:r>
            <a:r>
              <a:rPr lang="it-IT" sz="1600" i="1" dirty="0" smtClean="0">
                <a:solidFill>
                  <a:srgbClr val="E95E0F"/>
                </a:solidFill>
              </a:rPr>
              <a:t>urbana</a:t>
            </a:r>
          </a:p>
        </p:txBody>
      </p:sp>
      <p:sp>
        <p:nvSpPr>
          <p:cNvPr id="2" name="Rettangolo 1"/>
          <p:cNvSpPr/>
          <p:nvPr/>
        </p:nvSpPr>
        <p:spPr>
          <a:xfrm>
            <a:off x="293491" y="908720"/>
            <a:ext cx="233429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000" i="1" dirty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(base = totale campione, n= </a:t>
            </a:r>
            <a:r>
              <a:rPr lang="it-IT" sz="1000" i="1" dirty="0" smtClean="0">
                <a:solidFill>
                  <a:schemeClr val="bg2">
                    <a:lumMod val="50000"/>
                  </a:schemeClr>
                </a:solidFill>
                <a:latin typeface="Century Gothic" pitchFamily="34" charset="0"/>
              </a:rPr>
              <a:t>5880)</a:t>
            </a:r>
            <a:endParaRPr lang="it-IT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20" name="Picture 7" descr="http://www.vikingop.it/speciallinks/it/vkg/images/landing_voucher/landing_voucher_cerchio-matita.png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92124">
            <a:off x="3086649" y="4923472"/>
            <a:ext cx="934114" cy="782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51633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.125;0.125;0.25;14.25;14.375;28.375;28.5;42.5;"/>
  <p:tag name="VCT-BULLETVISIBILITY" val="L  ***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9.10.2011 11:04:46"/>
  <p:tag name="VCT-TEMPLATE" val="GfK Template for Office 2003 4-3.pot"/>
  <p:tag name="VCTMASTER" val="GfK Master for PPT 2010 4-3"/>
  <p:tag name="VCTORDER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9.10.2011 11:04:46"/>
  <p:tag name="VCT-TEMPLATE" val="GfK Master for PPT 2010 4-3.potx"/>
  <p:tag name="VCTMASTER" val="GfK Master for PPT 2010 4-3"/>
  <p:tag name="VCTLAYOUT" val="title"/>
  <p:tag name="VCTORDER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13.02.2012 18:13:29"/>
  <p:tag name="PLACEHFMT" val="3"/>
  <p:tag name="VCT-BODYINDENTATION" val="0;0;0;0;0;0;0;0;0;0;"/>
  <p:tag name="VCT-BULLETVISIBILITY" val="L 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13.02.2012 18:13:29"/>
  <p:tag name="PLACEHFMT" val="4"/>
  <p:tag name="VCT-BODYINDENTATION" val="0;0;0.125;0.125;0.25;0.25;0.375;0.375;0.5;0.5;"/>
  <p:tag name="VCT-BULLETVISIBILITY" val="L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heme/theme1.xml><?xml version="1.0" encoding="utf-8"?>
<a:theme xmlns:a="http://schemas.openxmlformats.org/drawingml/2006/main" name="Nuovo Format - Presentazione - 4_3 (italiano)">
  <a:themeElements>
    <a:clrScheme name="GfK Master for PPT 2010 4-3 1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FFFFFF"/>
      </a:accent3>
      <a:accent4>
        <a:srgbClr val="000000"/>
      </a:accent4>
      <a:accent5>
        <a:srgbClr val="AAB0C3"/>
      </a:accent5>
      <a:accent6>
        <a:srgbClr val="007AB5"/>
      </a:accent6>
      <a:hlink>
        <a:srgbClr val="E95E0F"/>
      </a:hlink>
      <a:folHlink>
        <a:srgbClr val="004186"/>
      </a:folHlink>
    </a:clrScheme>
    <a:fontScheme name="GfK">
      <a:majorFont>
        <a:latin typeface="Insight screen"/>
        <a:ea typeface=""/>
        <a:cs typeface=""/>
      </a:majorFont>
      <a:minorFont>
        <a:latin typeface="Insight scree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GfK Master for PPT 2010 4-3 1">
        <a:dk1>
          <a:srgbClr val="000000"/>
        </a:dk1>
        <a:lt1>
          <a:srgbClr val="FFFFFF"/>
        </a:lt1>
        <a:dk2>
          <a:srgbClr val="E95E0F"/>
        </a:dk2>
        <a:lt2>
          <a:srgbClr val="928580"/>
        </a:lt2>
        <a:accent1>
          <a:srgbClr val="004186"/>
        </a:accent1>
        <a:accent2>
          <a:srgbClr val="0087C8"/>
        </a:accent2>
        <a:accent3>
          <a:srgbClr val="FFFFFF"/>
        </a:accent3>
        <a:accent4>
          <a:srgbClr val="000000"/>
        </a:accent4>
        <a:accent5>
          <a:srgbClr val="AAB0C3"/>
        </a:accent5>
        <a:accent6>
          <a:srgbClr val="007AB5"/>
        </a:accent6>
        <a:hlink>
          <a:srgbClr val="E95E0F"/>
        </a:hlink>
        <a:folHlink>
          <a:srgbClr val="00418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832</TotalTime>
  <Words>5137</Words>
  <Application>Microsoft Office PowerPoint</Application>
  <PresentationFormat>Presentazione su schermo (4:3)</PresentationFormat>
  <Paragraphs>1852</Paragraphs>
  <Slides>47</Slides>
  <Notes>35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itoli diapositive</vt:lpstr>
      </vt:variant>
      <vt:variant>
        <vt:i4>47</vt:i4>
      </vt:variant>
    </vt:vector>
  </HeadingPairs>
  <TitlesOfParts>
    <vt:vector size="48" baseType="lpstr">
      <vt:lpstr>Nuovo Format - Presentazione - 4_3 (italiano)</vt:lpstr>
      <vt:lpstr>Indagine Confcommercio – GfK Eurisko sui fenomeni criminali  Roma, 26 novembre 2014   </vt:lpstr>
      <vt:lpstr>Presentazione standard di PowerPoint</vt:lpstr>
      <vt:lpstr>Presentazione standard di PowerPoint</vt:lpstr>
      <vt:lpstr>Sintesi dei principali risultati</vt:lpstr>
      <vt:lpstr>Le percezioni sulla criminalità</vt:lpstr>
      <vt:lpstr>Presentazione standard di PowerPoint</vt:lpstr>
      <vt:lpstr>Le percezioni sulla criminalità</vt:lpstr>
      <vt:lpstr>Presentazione standard di PowerPoint</vt:lpstr>
      <vt:lpstr>Presentazione standard di PowerPoint</vt:lpstr>
      <vt:lpstr>Presentazione standard di PowerPoint</vt:lpstr>
      <vt:lpstr>L’esperienza di criminalità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Le risposte alle richieste estorsiv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I problemi del territorio</vt:lpstr>
      <vt:lpstr>Presentazione standard di PowerPoint</vt:lpstr>
      <vt:lpstr>Presentazione standard di PowerPoint</vt:lpstr>
      <vt:lpstr>Presentazione standard di PowerPoint</vt:lpstr>
      <vt:lpstr>Il confronto tra i risultati nazionali e regionali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Allegato: la metodologia</vt:lpstr>
      <vt:lpstr>Presentazione standard di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Lozza, Edoardo (GfK Eurisko Italy)</dc:creator>
  <cp:lastModifiedBy>Castellucci</cp:lastModifiedBy>
  <cp:revision>663</cp:revision>
  <cp:lastPrinted>2014-11-24T17:39:40Z</cp:lastPrinted>
  <dcterms:created xsi:type="dcterms:W3CDTF">2014-08-26T08:22:23Z</dcterms:created>
  <dcterms:modified xsi:type="dcterms:W3CDTF">2014-11-25T15:20:37Z</dcterms:modified>
</cp:coreProperties>
</file>